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747" r:id="rId3"/>
    <p:sldMasterId id="2147483832" r:id="rId4"/>
    <p:sldMasterId id="2147483835" r:id="rId5"/>
  </p:sldMasterIdLst>
  <p:notesMasterIdLst>
    <p:notesMasterId r:id="rId23"/>
  </p:notesMasterIdLst>
  <p:sldIdLst>
    <p:sldId id="297" r:id="rId6"/>
    <p:sldId id="298" r:id="rId7"/>
    <p:sldId id="299" r:id="rId8"/>
    <p:sldId id="300" r:id="rId9"/>
    <p:sldId id="301" r:id="rId10"/>
    <p:sldId id="302" r:id="rId11"/>
    <p:sldId id="303" r:id="rId12"/>
    <p:sldId id="304" r:id="rId13"/>
    <p:sldId id="305" r:id="rId14"/>
    <p:sldId id="306" r:id="rId15"/>
    <p:sldId id="307" r:id="rId16"/>
    <p:sldId id="308" r:id="rId17"/>
    <p:sldId id="309" r:id="rId18"/>
    <p:sldId id="310" r:id="rId19"/>
    <p:sldId id="311" r:id="rId20"/>
    <p:sldId id="312" r:id="rId21"/>
    <p:sldId id="313" r:id="rId22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1544" autoAdjust="0"/>
    <p:restoredTop sz="94660"/>
  </p:normalViewPr>
  <p:slideViewPr>
    <p:cSldViewPr>
      <p:cViewPr varScale="1">
        <p:scale>
          <a:sx n="87" d="100"/>
          <a:sy n="87" d="100"/>
        </p:scale>
        <p:origin x="-546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19</c:f>
              <c:strCache>
                <c:ptCount val="1"/>
                <c:pt idx="0">
                  <c:v>Any HPV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18:$L$18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19:$L$19</c:f>
              <c:numCache>
                <c:formatCode>0%</c:formatCode>
                <c:ptCount val="11"/>
                <c:pt idx="0">
                  <c:v>0.29090909090909089</c:v>
                </c:pt>
                <c:pt idx="1">
                  <c:v>0.16279069767441862</c:v>
                </c:pt>
                <c:pt idx="2">
                  <c:v>0.33333333333333331</c:v>
                </c:pt>
                <c:pt idx="3">
                  <c:v>0.24242424242424243</c:v>
                </c:pt>
                <c:pt idx="4">
                  <c:v>0.22500000000000001</c:v>
                </c:pt>
                <c:pt idx="5">
                  <c:v>0.21568627450980393</c:v>
                </c:pt>
                <c:pt idx="6">
                  <c:v>0.17721518987341772</c:v>
                </c:pt>
                <c:pt idx="7">
                  <c:v>0.30645161290322581</c:v>
                </c:pt>
                <c:pt idx="8">
                  <c:v>0.28378378378378377</c:v>
                </c:pt>
                <c:pt idx="9">
                  <c:v>0.33734939759036142</c:v>
                </c:pt>
                <c:pt idx="10">
                  <c:v>0.1756756756756756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20</c:f>
              <c:strCache>
                <c:ptCount val="1"/>
                <c:pt idx="0">
                  <c:v>6/11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18:$L$18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20:$L$20</c:f>
              <c:numCache>
                <c:formatCode>0%</c:formatCode>
                <c:ptCount val="11"/>
                <c:pt idx="0">
                  <c:v>0.10909090909090909</c:v>
                </c:pt>
                <c:pt idx="1">
                  <c:v>6.9767441860465115E-2</c:v>
                </c:pt>
                <c:pt idx="2">
                  <c:v>0.12820512820512819</c:v>
                </c:pt>
                <c:pt idx="3">
                  <c:v>0</c:v>
                </c:pt>
                <c:pt idx="4">
                  <c:v>2.5000000000000001E-2</c:v>
                </c:pt>
                <c:pt idx="5">
                  <c:v>1.9607843137254902E-2</c:v>
                </c:pt>
                <c:pt idx="6">
                  <c:v>2.5316455696202531E-2</c:v>
                </c:pt>
                <c:pt idx="7">
                  <c:v>3.2258064516129031E-2</c:v>
                </c:pt>
                <c:pt idx="8">
                  <c:v>1.3513513513513514E-2</c:v>
                </c:pt>
                <c:pt idx="9">
                  <c:v>4.8192771084337352E-2</c:v>
                </c:pt>
                <c:pt idx="10">
                  <c:v>1.3513513513513514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21</c:f>
              <c:strCache>
                <c:ptCount val="1"/>
                <c:pt idx="0">
                  <c:v>16/18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18:$L$18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21:$L$21</c:f>
              <c:numCache>
                <c:formatCode>0%</c:formatCode>
                <c:ptCount val="11"/>
                <c:pt idx="0">
                  <c:v>9.0909090909090912E-2</c:v>
                </c:pt>
                <c:pt idx="1">
                  <c:v>9.3023255813953487E-2</c:v>
                </c:pt>
                <c:pt idx="2">
                  <c:v>7.6923076923076927E-2</c:v>
                </c:pt>
                <c:pt idx="3">
                  <c:v>0.18181818181818182</c:v>
                </c:pt>
                <c:pt idx="4">
                  <c:v>7.4999999999999997E-2</c:v>
                </c:pt>
                <c:pt idx="5">
                  <c:v>0.11764705882352941</c:v>
                </c:pt>
                <c:pt idx="6">
                  <c:v>5.0632911392405063E-2</c:v>
                </c:pt>
                <c:pt idx="7">
                  <c:v>1.6129032258064516E-2</c:v>
                </c:pt>
                <c:pt idx="8">
                  <c:v>0</c:v>
                </c:pt>
                <c:pt idx="9">
                  <c:v>1.2048192771084338E-2</c:v>
                </c:pt>
                <c:pt idx="10">
                  <c:v>1.3513513513513514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22</c:f>
              <c:strCache>
                <c:ptCount val="1"/>
                <c:pt idx="0">
                  <c:v>Non-vaccine-targeted HPV genotypes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18:$L$18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22:$L$22</c:f>
              <c:numCache>
                <c:formatCode>0%</c:formatCode>
                <c:ptCount val="11"/>
                <c:pt idx="0">
                  <c:v>0.16363636363636364</c:v>
                </c:pt>
                <c:pt idx="1">
                  <c:v>6.9767441860465115E-2</c:v>
                </c:pt>
                <c:pt idx="2">
                  <c:v>0.12820512820512819</c:v>
                </c:pt>
                <c:pt idx="3">
                  <c:v>0.15151515151515152</c:v>
                </c:pt>
                <c:pt idx="4">
                  <c:v>0.2</c:v>
                </c:pt>
                <c:pt idx="5">
                  <c:v>0.13725490196078433</c:v>
                </c:pt>
                <c:pt idx="6">
                  <c:v>0.12658227848101267</c:v>
                </c:pt>
                <c:pt idx="7">
                  <c:v>0.27419354838709675</c:v>
                </c:pt>
                <c:pt idx="8">
                  <c:v>0.27027027027027029</c:v>
                </c:pt>
                <c:pt idx="9">
                  <c:v>0.27710843373493976</c:v>
                </c:pt>
                <c:pt idx="10">
                  <c:v>0.1756756756756756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3392256"/>
        <c:axId val="113411200"/>
      </c:lineChart>
      <c:catAx>
        <c:axId val="11339225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AU"/>
                  <a:t>Financial year</a:t>
                </a:r>
              </a:p>
            </c:rich>
          </c:tx>
          <c:layout/>
          <c:overlay val="0"/>
        </c:title>
        <c:numFmt formatCode="General" sourceLinked="0"/>
        <c:majorTickMark val="out"/>
        <c:minorTickMark val="none"/>
        <c:tickLblPos val="nextTo"/>
        <c:spPr>
          <a:ln w="19050">
            <a:solidFill>
              <a:schemeClr val="tx1"/>
            </a:solidFill>
          </a:ln>
        </c:spPr>
        <c:txPr>
          <a:bodyPr/>
          <a:lstStyle/>
          <a:p>
            <a:pPr>
              <a:defRPr sz="1300" b="1"/>
            </a:pPr>
            <a:endParaRPr lang="en-US"/>
          </a:p>
        </c:txPr>
        <c:crossAx val="113411200"/>
        <c:crosses val="autoZero"/>
        <c:auto val="1"/>
        <c:lblAlgn val="ctr"/>
        <c:lblOffset val="100"/>
        <c:noMultiLvlLbl val="0"/>
      </c:catAx>
      <c:valAx>
        <c:axId val="113411200"/>
        <c:scaling>
          <c:orientation val="minMax"/>
          <c:max val="0.5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AU"/>
                  <a:t>HPV prevalence</a:t>
                </a:r>
                <a:r>
                  <a:rPr lang="en-AU" baseline="0"/>
                  <a:t> (%)</a:t>
                </a:r>
                <a:endParaRPr lang="en-AU"/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spPr>
          <a:ln w="19050">
            <a:solidFill>
              <a:schemeClr val="tx1"/>
            </a:solidFill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113392256"/>
        <c:crosses val="autoZero"/>
        <c:crossBetween val="between"/>
        <c:majorUnit val="0.1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A$30</c:f>
              <c:strCache>
                <c:ptCount val="1"/>
                <c:pt idx="0">
                  <c:v>Any HPV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29:$L$29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30:$L$30</c:f>
              <c:numCache>
                <c:formatCode>0%</c:formatCode>
                <c:ptCount val="11"/>
                <c:pt idx="0">
                  <c:v>0.32142857142857145</c:v>
                </c:pt>
                <c:pt idx="1">
                  <c:v>0.2</c:v>
                </c:pt>
                <c:pt idx="2">
                  <c:v>0.24390243902439024</c:v>
                </c:pt>
                <c:pt idx="3">
                  <c:v>0.27027027027027029</c:v>
                </c:pt>
                <c:pt idx="4">
                  <c:v>0.26666666666666666</c:v>
                </c:pt>
                <c:pt idx="5">
                  <c:v>0.3</c:v>
                </c:pt>
                <c:pt idx="6">
                  <c:v>0.26865671641791045</c:v>
                </c:pt>
                <c:pt idx="7">
                  <c:v>0.3258426966292135</c:v>
                </c:pt>
                <c:pt idx="8">
                  <c:v>0.28695652173913044</c:v>
                </c:pt>
                <c:pt idx="9">
                  <c:v>0.30069930069930068</c:v>
                </c:pt>
                <c:pt idx="10">
                  <c:v>0.3055555555555555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A$31</c:f>
              <c:strCache>
                <c:ptCount val="1"/>
                <c:pt idx="0">
                  <c:v>6/11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29:$L$29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31:$L$31</c:f>
              <c:numCache>
                <c:formatCode>0%</c:formatCode>
                <c:ptCount val="11"/>
                <c:pt idx="0">
                  <c:v>0.10714285714285714</c:v>
                </c:pt>
                <c:pt idx="1">
                  <c:v>8.5714285714285715E-2</c:v>
                </c:pt>
                <c:pt idx="2">
                  <c:v>4.878048780487805E-2</c:v>
                </c:pt>
                <c:pt idx="3">
                  <c:v>5.4054054054054057E-2</c:v>
                </c:pt>
                <c:pt idx="4">
                  <c:v>2.2222222222222223E-2</c:v>
                </c:pt>
                <c:pt idx="5">
                  <c:v>0.05</c:v>
                </c:pt>
                <c:pt idx="6">
                  <c:v>5.9701492537313432E-2</c:v>
                </c:pt>
                <c:pt idx="7">
                  <c:v>4.49438202247191E-2</c:v>
                </c:pt>
                <c:pt idx="8">
                  <c:v>7.8260869565217397E-2</c:v>
                </c:pt>
                <c:pt idx="9">
                  <c:v>4.195804195804196E-2</c:v>
                </c:pt>
                <c:pt idx="10">
                  <c:v>3.7037037037037035E-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A$32</c:f>
              <c:strCache>
                <c:ptCount val="1"/>
                <c:pt idx="0">
                  <c:v>16/18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29:$L$29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32:$L$32</c:f>
              <c:numCache>
                <c:formatCode>0%</c:formatCode>
                <c:ptCount val="11"/>
                <c:pt idx="0">
                  <c:v>0.17857142857142858</c:v>
                </c:pt>
                <c:pt idx="1">
                  <c:v>0.11428571428571428</c:v>
                </c:pt>
                <c:pt idx="2">
                  <c:v>9.7560975609756101E-2</c:v>
                </c:pt>
                <c:pt idx="3">
                  <c:v>5.4054054054054057E-2</c:v>
                </c:pt>
                <c:pt idx="4">
                  <c:v>6.6666666666666666E-2</c:v>
                </c:pt>
                <c:pt idx="5">
                  <c:v>0.11666666666666667</c:v>
                </c:pt>
                <c:pt idx="6">
                  <c:v>0.1044776119402985</c:v>
                </c:pt>
                <c:pt idx="7">
                  <c:v>5.6179775280898875E-2</c:v>
                </c:pt>
                <c:pt idx="8">
                  <c:v>6.9565217391304349E-2</c:v>
                </c:pt>
                <c:pt idx="9">
                  <c:v>6.2937062937062943E-2</c:v>
                </c:pt>
                <c:pt idx="10">
                  <c:v>3.7037037037037035E-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A$33</c:f>
              <c:strCache>
                <c:ptCount val="1"/>
                <c:pt idx="0">
                  <c:v>Non-vaccine-targeted HPV genotypes</c:v>
                </c:pt>
              </c:strCache>
            </c:strRef>
          </c:tx>
          <c:spPr>
            <a:ln w="38100"/>
          </c:spPr>
          <c:marker>
            <c:spPr>
              <a:ln w="38100"/>
            </c:spPr>
          </c:marker>
          <c:cat>
            <c:strRef>
              <c:f>Sheet1!$B$29:$L$29</c:f>
              <c:strCache>
                <c:ptCount val="11"/>
                <c:pt idx="0">
                  <c:v>2004-05</c:v>
                </c:pt>
                <c:pt idx="1">
                  <c:v>2005-06</c:v>
                </c:pt>
                <c:pt idx="2">
                  <c:v>2006-07</c:v>
                </c:pt>
                <c:pt idx="3">
                  <c:v>2007-08</c:v>
                </c:pt>
                <c:pt idx="4">
                  <c:v>2008-09</c:v>
                </c:pt>
                <c:pt idx="5">
                  <c:v>2009-10</c:v>
                </c:pt>
                <c:pt idx="6">
                  <c:v>2010-11</c:v>
                </c:pt>
                <c:pt idx="7">
                  <c:v>2011-12</c:v>
                </c:pt>
                <c:pt idx="8">
                  <c:v>2012-13</c:v>
                </c:pt>
                <c:pt idx="9">
                  <c:v>2013-14</c:v>
                </c:pt>
                <c:pt idx="10">
                  <c:v>2014-15</c:v>
                </c:pt>
              </c:strCache>
            </c:strRef>
          </c:cat>
          <c:val>
            <c:numRef>
              <c:f>Sheet1!$B$33:$L$33</c:f>
              <c:numCache>
                <c:formatCode>0%</c:formatCode>
                <c:ptCount val="11"/>
                <c:pt idx="0">
                  <c:v>0.14285714285714285</c:v>
                </c:pt>
                <c:pt idx="1">
                  <c:v>8.5714285714285715E-2</c:v>
                </c:pt>
                <c:pt idx="2">
                  <c:v>0.12195121951219512</c:v>
                </c:pt>
                <c:pt idx="3">
                  <c:v>0.1891891891891892</c:v>
                </c:pt>
                <c:pt idx="4">
                  <c:v>0.22222222222222221</c:v>
                </c:pt>
                <c:pt idx="5">
                  <c:v>0.15</c:v>
                </c:pt>
                <c:pt idx="6">
                  <c:v>0.11940298507462686</c:v>
                </c:pt>
                <c:pt idx="7">
                  <c:v>0.29213483146067415</c:v>
                </c:pt>
                <c:pt idx="8">
                  <c:v>0.2</c:v>
                </c:pt>
                <c:pt idx="9">
                  <c:v>0.23776223776223776</c:v>
                </c:pt>
                <c:pt idx="10">
                  <c:v>0.259259259259259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959104"/>
        <c:axId val="114961408"/>
      </c:lineChart>
      <c:catAx>
        <c:axId val="11495910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AU"/>
                  <a:t>Financial year</a:t>
                </a:r>
              </a:p>
            </c:rich>
          </c:tx>
          <c:layout/>
          <c:overlay val="0"/>
        </c:title>
        <c:numFmt formatCode="General" sourceLinked="0"/>
        <c:majorTickMark val="out"/>
        <c:minorTickMark val="none"/>
        <c:tickLblPos val="nextTo"/>
        <c:spPr>
          <a:ln w="19050">
            <a:solidFill>
              <a:schemeClr val="tx1"/>
            </a:solidFill>
          </a:ln>
        </c:spPr>
        <c:txPr>
          <a:bodyPr/>
          <a:lstStyle/>
          <a:p>
            <a:pPr>
              <a:defRPr sz="1300" b="1"/>
            </a:pPr>
            <a:endParaRPr lang="en-US"/>
          </a:p>
        </c:txPr>
        <c:crossAx val="114961408"/>
        <c:crosses val="autoZero"/>
        <c:auto val="1"/>
        <c:lblAlgn val="ctr"/>
        <c:lblOffset val="100"/>
        <c:noMultiLvlLbl val="0"/>
      </c:catAx>
      <c:valAx>
        <c:axId val="114961408"/>
        <c:scaling>
          <c:orientation val="minMax"/>
          <c:max val="0.5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AU"/>
                  <a:t>HPV prevalence</a:t>
                </a:r>
                <a:r>
                  <a:rPr lang="en-AU" baseline="0"/>
                  <a:t> (%)</a:t>
                </a:r>
                <a:endParaRPr lang="en-AU"/>
              </a:p>
            </c:rich>
          </c:tx>
          <c:layout/>
          <c:overlay val="0"/>
        </c:title>
        <c:numFmt formatCode="0%" sourceLinked="1"/>
        <c:majorTickMark val="out"/>
        <c:minorTickMark val="none"/>
        <c:tickLblPos val="nextTo"/>
        <c:spPr>
          <a:ln w="19050">
            <a:solidFill>
              <a:schemeClr val="tx1"/>
            </a:solidFill>
          </a:ln>
        </c:spPr>
        <c:txPr>
          <a:bodyPr/>
          <a:lstStyle/>
          <a:p>
            <a:pPr>
              <a:defRPr b="1"/>
            </a:pPr>
            <a:endParaRPr lang="en-US"/>
          </a:p>
        </c:txPr>
        <c:crossAx val="114959104"/>
        <c:crosses val="autoZero"/>
        <c:crossBetween val="between"/>
        <c:majorUnit val="0.1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8629D-CD5A-4C49-9CDA-EEAC74C8623D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67B0F-8899-4363-B1FF-1F9166B639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1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0403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14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3404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15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31090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17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5142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2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34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3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1378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4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8764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5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4726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9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1771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10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1878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11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2697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913EB88-3CD7-4D86-BA18-A5A5B12739B7}" type="slidenum">
              <a:rPr lang="en-AU" smtClean="0">
                <a:solidFill>
                  <a:prstClr val="black"/>
                </a:solidFill>
              </a:rPr>
              <a:pPr/>
              <a:t>12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855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4D7381B-9E71-0E48-AD4B-6C8B2D964AA8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76543" y="1884363"/>
            <a:ext cx="6088696" cy="48736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300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US" sz="3000" dirty="0" smtClean="0">
                <a:solidFill>
                  <a:schemeClr val="tx1"/>
                </a:solidFill>
                <a:latin typeface="Arial Narrow"/>
                <a:cs typeface="Arial Narrow"/>
              </a:rPr>
              <a:t>TITLE PAGE (30pt Arial Narrow)</a:t>
            </a:r>
            <a:endParaRPr lang="en-US" sz="30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76542" y="2646680"/>
            <a:ext cx="6088697" cy="48736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00" baseline="0">
                <a:solidFill>
                  <a:srgbClr val="000000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GB" sz="18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SUB HEADLINE / PRESENTER (18pt Arial Narrow)</a:t>
            </a:r>
            <a:endParaRPr lang="en-GB" sz="18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96799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15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99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269558" y="185833"/>
            <a:ext cx="5308282" cy="737711"/>
          </a:xfrm>
          <a:prstGeom prst="rect">
            <a:avLst/>
          </a:prstGeom>
        </p:spPr>
        <p:txBody>
          <a:bodyPr vert="horz"/>
          <a:lstStyle>
            <a:lvl1pPr marL="0" indent="0" algn="l">
              <a:lnSpc>
                <a:spcPct val="90000"/>
              </a:lnSpc>
              <a:buNone/>
              <a:defRPr sz="2400">
                <a:latin typeface="Arial Narrow"/>
                <a:cs typeface="Arial Narrow"/>
              </a:defRPr>
            </a:lvl1pPr>
          </a:lstStyle>
          <a:p>
            <a:pPr algn="l">
              <a:lnSpc>
                <a:spcPct val="90000"/>
              </a:lnSpc>
            </a:pPr>
            <a:r>
              <a:rPr lang="en-US" sz="2400" dirty="0" smtClean="0">
                <a:latin typeface="Arial Narrow"/>
                <a:cs typeface="Arial Narrow"/>
              </a:rPr>
              <a:t>CONTENT PAGE 2</a:t>
            </a:r>
            <a:br>
              <a:rPr lang="en-US" sz="2400" dirty="0" smtClean="0">
                <a:latin typeface="Arial Narrow"/>
                <a:cs typeface="Arial Narrow"/>
              </a:rPr>
            </a:br>
            <a:r>
              <a:rPr lang="en-US" sz="2400" dirty="0" smtClean="0">
                <a:latin typeface="Arial Narrow"/>
                <a:cs typeface="Arial Narrow"/>
              </a:rPr>
              <a:t>2 LINES (24pt Arial Narrow)</a:t>
            </a:r>
            <a:endParaRPr lang="en-US" sz="2400" dirty="0">
              <a:latin typeface="Arial Narrow"/>
              <a:cs typeface="Arial Narrow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254318" y="1319865"/>
            <a:ext cx="8319621" cy="3225701"/>
          </a:xfrm>
          <a:prstGeom prst="rect">
            <a:avLst/>
          </a:prstGeom>
        </p:spPr>
        <p:txBody>
          <a:bodyPr/>
          <a:lstStyle>
            <a:lvl1pPr marL="342900" indent="-342900">
              <a:buFont typeface="Wingdings" charset="2"/>
              <a:buChar char="§"/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 marL="1143000" indent="-228600">
              <a:buFont typeface="Wingdings" charset="2"/>
              <a:buChar char="§"/>
              <a:defRPr sz="1800">
                <a:latin typeface="Arial"/>
                <a:cs typeface="Arial"/>
              </a:defRPr>
            </a:lvl3pPr>
            <a:lvl4pPr>
              <a:defRPr sz="1600">
                <a:latin typeface="Arial"/>
                <a:cs typeface="Arial"/>
              </a:defRPr>
            </a:lvl4pPr>
            <a:lvl5pPr>
              <a:defRPr sz="18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AU" dirty="0" smtClean="0"/>
              <a:t>Click to edit Master text styles</a:t>
            </a:r>
          </a:p>
          <a:p>
            <a:pPr lvl="1"/>
            <a:r>
              <a:rPr lang="en-AU" dirty="0" smtClean="0"/>
              <a:t>Second level</a:t>
            </a:r>
          </a:p>
          <a:p>
            <a:pPr lvl="2"/>
            <a:r>
              <a:rPr lang="en-AU" dirty="0" smtClean="0"/>
              <a:t>Third level</a:t>
            </a:r>
          </a:p>
          <a:p>
            <a:pPr lvl="3"/>
            <a:r>
              <a:rPr lang="en-AU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17331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492443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9"/>
            <a:ext cx="7519009" cy="276999"/>
          </a:xfrm>
        </p:spPr>
        <p:txBody>
          <a:bodyPr/>
          <a:lstStyle>
            <a:lvl1pPr>
              <a:defRPr sz="18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4355976" y="162200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82" y="194766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92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92991"/>
            <a:ext cx="7274393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95" y="191793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7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88" y="2349109"/>
            <a:ext cx="3857625" cy="1858565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5788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201" y="1257303"/>
            <a:ext cx="8229600" cy="32789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32983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831" y="185092"/>
            <a:ext cx="8229600" cy="857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0832" y="1164983"/>
            <a:ext cx="8229600" cy="32789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05321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8997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914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750771"/>
            <a:ext cx="8130339" cy="517642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130339" cy="320778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497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5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299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11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7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29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91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6.pn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s-1-widescreen-FINA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  <p:pic>
        <p:nvPicPr>
          <p:cNvPr id="1026" name="Picture 2" descr="http://www.behaviourworksaustralia.org/V2/wp-content/uploads/2015/12/Monash_2-RGB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9" t="14176" r="8088" b="14938"/>
          <a:stretch/>
        </p:blipFill>
        <p:spPr bwMode="auto">
          <a:xfrm>
            <a:off x="317499" y="228600"/>
            <a:ext cx="1935843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51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838074"/>
            <a:ext cx="82089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dirty="0" smtClean="0"/>
              <a:t>Click to edit Master title style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663701"/>
            <a:ext cx="8442325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smtClean="0"/>
              <a:t>Click to edit Master text styles</a:t>
            </a:r>
          </a:p>
          <a:p>
            <a:pPr lvl="1"/>
            <a:r>
              <a:rPr lang="en-AU" altLang="en-US" smtClean="0"/>
              <a:t>Second level</a:t>
            </a:r>
          </a:p>
          <a:p>
            <a:pPr lvl="2"/>
            <a:r>
              <a:rPr lang="en-AU" altLang="en-US" smtClean="0"/>
              <a:t>Third level</a:t>
            </a:r>
          </a:p>
          <a:p>
            <a:pPr lvl="2"/>
            <a:r>
              <a:rPr lang="en-AU" altLang="en-US" smtClean="0"/>
              <a:t>Fourth level</a:t>
            </a:r>
          </a:p>
          <a:p>
            <a:pPr lvl="3"/>
            <a:r>
              <a:rPr lang="en-AU" altLang="en-US" smtClean="0"/>
              <a:t>Fifth level</a:t>
            </a:r>
          </a:p>
        </p:txBody>
      </p:sp>
      <p:pic>
        <p:nvPicPr>
          <p:cNvPr id="17" name="Picture 13" descr="Monash_logo_rgb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842131"/>
            <a:ext cx="180022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29"/>
          <p:cNvGrpSpPr>
            <a:grpSpLocks/>
          </p:cNvGrpSpPr>
          <p:nvPr userDrawn="1"/>
        </p:nvGrpSpPr>
        <p:grpSpPr bwMode="auto">
          <a:xfrm>
            <a:off x="395288" y="241300"/>
            <a:ext cx="8389937" cy="417513"/>
            <a:chOff x="249" y="232"/>
            <a:chExt cx="5285" cy="263"/>
          </a:xfrm>
        </p:grpSpPr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249" y="232"/>
              <a:ext cx="5285" cy="2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 userDrawn="1"/>
          </p:nvSpPr>
          <p:spPr bwMode="auto">
            <a:xfrm rot="2700000">
              <a:off x="390" y="314"/>
              <a:ext cx="182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</p:grp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6" t="87500" r="25034" b="2692"/>
          <a:stretch/>
        </p:blipFill>
        <p:spPr bwMode="auto">
          <a:xfrm>
            <a:off x="2133600" y="4740905"/>
            <a:ext cx="1536699" cy="37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082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07" name="Picture 85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7478714" y="279798"/>
            <a:ext cx="1506537" cy="28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0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" descr="graphic-corner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43200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5" descr="page-1_X.png"/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263" y="0"/>
            <a:ext cx="374173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6" descr="0810154 SpeeDx logo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20663"/>
            <a:ext cx="22145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28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sosceles Triangle 23"/>
          <p:cNvSpPr/>
          <p:nvPr userDrawn="1"/>
        </p:nvSpPr>
        <p:spPr>
          <a:xfrm>
            <a:off x="-6350" y="3508375"/>
            <a:ext cx="755650" cy="1641475"/>
          </a:xfrm>
          <a:prstGeom prst="triangle">
            <a:avLst>
              <a:gd name="adj" fmla="val 0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1267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195263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br>
              <a:rPr lang="en-US" smtClean="0"/>
            </a:br>
            <a:endParaRPr lang="en-AU" smtClean="0"/>
          </a:p>
        </p:txBody>
      </p:sp>
      <p:sp>
        <p:nvSpPr>
          <p:cNvPr id="11268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371475" y="1176338"/>
            <a:ext cx="8108950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smtClean="0"/>
          </a:p>
        </p:txBody>
      </p:sp>
      <p:pic>
        <p:nvPicPr>
          <p:cNvPr id="11269" name="Picture 10" descr="0810154 SpeeDx logo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525" y="123825"/>
            <a:ext cx="11525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rapezoid 8"/>
          <p:cNvSpPr/>
          <p:nvPr userDrawn="1"/>
        </p:nvSpPr>
        <p:spPr>
          <a:xfrm>
            <a:off x="-1588" y="0"/>
            <a:ext cx="2270126" cy="146050"/>
          </a:xfrm>
          <a:prstGeom prst="trapezoid">
            <a:avLst>
              <a:gd name="adj" fmla="val 40615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8" name="Trapezoid 27"/>
          <p:cNvSpPr/>
          <p:nvPr userDrawn="1"/>
        </p:nvSpPr>
        <p:spPr>
          <a:xfrm rot="5400000">
            <a:off x="-723900" y="722312"/>
            <a:ext cx="1590675" cy="146051"/>
          </a:xfrm>
          <a:prstGeom prst="trapezoid">
            <a:avLst>
              <a:gd name="adj" fmla="val 102571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588" y="0"/>
            <a:ext cx="146051" cy="146050"/>
          </a:xfrm>
          <a:prstGeom prst="rect">
            <a:avLst/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9" name="Parallelogram 28"/>
          <p:cNvSpPr/>
          <p:nvPr userDrawn="1"/>
        </p:nvSpPr>
        <p:spPr>
          <a:xfrm rot="10800000" flipV="1">
            <a:off x="4538663" y="4878388"/>
            <a:ext cx="1408112" cy="265112"/>
          </a:xfrm>
          <a:prstGeom prst="parallelogram">
            <a:avLst>
              <a:gd name="adj" fmla="val 25690"/>
            </a:avLst>
          </a:prstGeom>
          <a:solidFill>
            <a:srgbClr val="003D46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0" name="Parallelogram 29"/>
          <p:cNvSpPr/>
          <p:nvPr userDrawn="1"/>
        </p:nvSpPr>
        <p:spPr>
          <a:xfrm rot="10800000" flipV="1">
            <a:off x="5905500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1" name="Parallelogram 30"/>
          <p:cNvSpPr/>
          <p:nvPr userDrawn="1"/>
        </p:nvSpPr>
        <p:spPr>
          <a:xfrm rot="10800000" flipV="1">
            <a:off x="7273925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3" name="Parallelogram 32"/>
          <p:cNvSpPr/>
          <p:nvPr userDrawn="1"/>
        </p:nvSpPr>
        <p:spPr>
          <a:xfrm rot="10800000" flipV="1">
            <a:off x="8640763" y="4878388"/>
            <a:ext cx="503237" cy="265112"/>
          </a:xfrm>
          <a:prstGeom prst="parallelogram">
            <a:avLst>
              <a:gd name="adj" fmla="val 25690"/>
            </a:avLst>
          </a:prstGeom>
          <a:solidFill>
            <a:srgbClr val="ED1C2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83663" y="4878388"/>
            <a:ext cx="160337" cy="265112"/>
          </a:xfrm>
          <a:prstGeom prst="rect">
            <a:avLst/>
          </a:prstGeom>
          <a:solidFill>
            <a:srgbClr val="ED1C29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85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200" b="1" i="1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2pPr>
      <a:lvl3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3pPr>
      <a:lvl4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4pPr>
      <a:lvl5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Blip>
          <a:blip r:embed="rId5"/>
        </a:buBlip>
        <a:defRPr sz="28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22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chow@mshc.org.au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30.png"/><Relationship Id="rId7" Type="http://schemas.openxmlformats.org/officeDocument/2006/relationships/image" Target="../media/image27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g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276542" y="1452013"/>
            <a:ext cx="6237380" cy="2459037"/>
          </a:xfrm>
        </p:spPr>
        <p:txBody>
          <a:bodyPr/>
          <a:lstStyle/>
          <a:p>
            <a:r>
              <a:rPr lang="en-AU" sz="2600" b="1" dirty="0">
                <a:solidFill>
                  <a:srgbClr val="0070C0"/>
                </a:solidFill>
              </a:rPr>
              <a:t>Rapid fall in </a:t>
            </a:r>
            <a:r>
              <a:rPr lang="en-AU" sz="2600" b="1" dirty="0" err="1">
                <a:solidFill>
                  <a:srgbClr val="0070C0"/>
                </a:solidFill>
              </a:rPr>
              <a:t>quadrivalent</a:t>
            </a:r>
            <a:r>
              <a:rPr lang="en-AU" sz="2600" b="1" dirty="0">
                <a:solidFill>
                  <a:srgbClr val="0070C0"/>
                </a:solidFill>
              </a:rPr>
              <a:t> vaccine targeted human papillomavirus genotypes in heterosexual men following the Australian female HPV vaccination programme: an observational study from 2004 to 2015 </a:t>
            </a:r>
            <a:endParaRPr lang="en-US" sz="2600" b="1" dirty="0">
              <a:solidFill>
                <a:srgbClr val="0070C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221864" y="3799205"/>
            <a:ext cx="4143374" cy="1080494"/>
          </a:xfrm>
        </p:spPr>
        <p:txBody>
          <a:bodyPr/>
          <a:lstStyle/>
          <a:p>
            <a:pPr algn="r"/>
            <a:r>
              <a:rPr lang="en-US" dirty="0" smtClean="0"/>
              <a:t>Dr Eric Chow (</a:t>
            </a:r>
            <a:r>
              <a:rPr lang="en-US" dirty="0" smtClean="0">
                <a:hlinkClick r:id="rId3"/>
              </a:rPr>
              <a:t>echow@mshc.org.au</a:t>
            </a:r>
            <a:r>
              <a:rPr lang="en-US" dirty="0" smtClean="0"/>
              <a:t>)</a:t>
            </a:r>
          </a:p>
          <a:p>
            <a:pPr algn="r"/>
            <a:r>
              <a:rPr lang="en-US" dirty="0" smtClean="0"/>
              <a:t>Melbourne Sexual Health Centre, Alfred </a:t>
            </a:r>
            <a:r>
              <a:rPr lang="en-US" dirty="0"/>
              <a:t>Health </a:t>
            </a:r>
            <a:endParaRPr lang="en-US" dirty="0" smtClean="0"/>
          </a:p>
          <a:p>
            <a:pPr algn="r"/>
            <a:r>
              <a:rPr lang="en-US" dirty="0" smtClean="0"/>
              <a:t>Central Clinical School, Monash University </a:t>
            </a:r>
          </a:p>
          <a:p>
            <a:pPr algn="r"/>
            <a:r>
              <a:rPr lang="en-US" dirty="0" smtClean="0"/>
              <a:t> </a:t>
            </a:r>
            <a:endParaRPr lang="en-US" dirty="0"/>
          </a:p>
        </p:txBody>
      </p:sp>
      <p:pic>
        <p:nvPicPr>
          <p:cNvPr id="7" name="Picture 10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6" t="87500" r="25034" b="2692"/>
          <a:stretch/>
        </p:blipFill>
        <p:spPr bwMode="auto">
          <a:xfrm>
            <a:off x="2387600" y="266728"/>
            <a:ext cx="2628900" cy="63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2938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ustralian-born men</a:t>
            </a:r>
            <a:endParaRPr lang="en-AU" dirty="0"/>
          </a:p>
        </p:txBody>
      </p:sp>
      <p:graphicFrame>
        <p:nvGraphicFramePr>
          <p:cNvPr id="5" name="Chart 4"/>
          <p:cNvGraphicFramePr>
            <a:graphicFrameLocks noGrp="1"/>
          </p:cNvGraphicFramePr>
          <p:nvPr>
            <p:extLst/>
          </p:nvPr>
        </p:nvGraphicFramePr>
        <p:xfrm>
          <a:off x="97944" y="1142999"/>
          <a:ext cx="8931756" cy="3911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" name="Straight Connector 5"/>
          <p:cNvCxnSpPr/>
          <p:nvPr/>
        </p:nvCxnSpPr>
        <p:spPr>
          <a:xfrm>
            <a:off x="3232541" y="1420641"/>
            <a:ext cx="1047" cy="2899992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7350088" y="1420641"/>
            <a:ext cx="1047" cy="2900028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3"/>
          <p:cNvSpPr txBox="1"/>
          <p:nvPr/>
        </p:nvSpPr>
        <p:spPr>
          <a:xfrm>
            <a:off x="2500129" y="1052512"/>
            <a:ext cx="1464824" cy="458109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 vaccination </a:t>
            </a:r>
          </a:p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 </a:t>
            </a:r>
            <a:r>
              <a:rPr lang="en-A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pr, 2007)</a:t>
            </a:r>
            <a:endParaRPr lang="en-A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6425835" y="1012249"/>
            <a:ext cx="1625965" cy="552808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 vaccination </a:t>
            </a:r>
          </a:p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 (</a:t>
            </a:r>
            <a:r>
              <a:rPr lang="en-A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b, </a:t>
            </a:r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3)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3291" r="4539" b="91360"/>
          <a:stretch/>
        </p:blipFill>
        <p:spPr bwMode="auto">
          <a:xfrm>
            <a:off x="3390533" y="1420641"/>
            <a:ext cx="3238867" cy="27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8790" r="4539" b="87148"/>
          <a:stretch/>
        </p:blipFill>
        <p:spPr bwMode="auto">
          <a:xfrm>
            <a:off x="3390532" y="1691640"/>
            <a:ext cx="3238867" cy="205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12484" r="4539" b="82919"/>
          <a:stretch/>
        </p:blipFill>
        <p:spPr bwMode="auto">
          <a:xfrm>
            <a:off x="3390533" y="1897380"/>
            <a:ext cx="3238867" cy="232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16863" r="4539" b="78323"/>
          <a:stretch/>
        </p:blipFill>
        <p:spPr bwMode="auto">
          <a:xfrm>
            <a:off x="3390533" y="2130240"/>
            <a:ext cx="3238867" cy="243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ight Arrow 13"/>
          <p:cNvSpPr>
            <a:spLocks noChangeArrowheads="1"/>
          </p:cNvSpPr>
          <p:nvPr/>
        </p:nvSpPr>
        <p:spPr bwMode="auto">
          <a:xfrm rot="1303311">
            <a:off x="3444719" y="3312196"/>
            <a:ext cx="2942559" cy="297209"/>
          </a:xfrm>
          <a:prstGeom prst="rightArrow">
            <a:avLst>
              <a:gd name="adj1" fmla="val 50000"/>
              <a:gd name="adj2" fmla="val 72318"/>
            </a:avLst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square" anchor="ctr">
            <a:spAutoFit/>
          </a:bodyPr>
          <a:lstStyle>
            <a:lvl1pPr eaLnBrk="0" hangingPunct="0">
              <a:spcAft>
                <a:spcPts val="12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9pPr>
          </a:lstStyle>
          <a:p>
            <a:pPr algn="ctr" defTabSz="457200" eaLnBrk="1" hangingPunct="1"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en-US" altLang="en-US" sz="140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328933" y="1411776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=0.881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347983" y="1630851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=0.003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452758" y="1859451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&lt;0.001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81583" y="2098291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=0.007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1373187" y="2112477"/>
            <a:ext cx="7156639" cy="369332"/>
          </a:xfrm>
          <a:prstGeom prst="rect">
            <a:avLst/>
          </a:prstGeom>
          <a:solidFill>
            <a:srgbClr val="FFFF99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none">
            <a:spAutoFit/>
          </a:bodyPr>
          <a:lstStyle>
            <a:lvl1pPr eaLnBrk="0" hangingPunct="0">
              <a:spcAft>
                <a:spcPts val="12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9pPr>
          </a:lstStyle>
          <a:p>
            <a:pPr defTabSz="457200" eaLnBrk="1" hangingPunct="1">
              <a:spcAft>
                <a:spcPct val="0"/>
              </a:spcAft>
              <a:buFontTx/>
              <a:buNone/>
            </a:pPr>
            <a:r>
              <a:rPr lang="en-AU" altLang="en-US" sz="1800" dirty="0" smtClean="0">
                <a:solidFill>
                  <a:prstClr val="black"/>
                </a:solidFill>
              </a:rPr>
              <a:t>Significant decline in all 4 vaccine-targeted genotypes (6, 11, 16, 18)</a:t>
            </a:r>
            <a:endParaRPr lang="en-AU" altLang="en-US" sz="1800" dirty="0">
              <a:solidFill>
                <a:prstClr val="black"/>
              </a:solidFill>
            </a:endParaRPr>
          </a:p>
        </p:txBody>
      </p:sp>
      <p:sp>
        <p:nvSpPr>
          <p:cNvPr id="19" name="Right Arrow 18"/>
          <p:cNvSpPr>
            <a:spLocks noChangeArrowheads="1"/>
          </p:cNvSpPr>
          <p:nvPr/>
        </p:nvSpPr>
        <p:spPr bwMode="auto">
          <a:xfrm rot="2833819">
            <a:off x="3046833" y="3516606"/>
            <a:ext cx="934706" cy="297209"/>
          </a:xfrm>
          <a:prstGeom prst="rightArrow">
            <a:avLst>
              <a:gd name="adj1" fmla="val 50000"/>
              <a:gd name="adj2" fmla="val 72318"/>
            </a:avLst>
          </a:prstGeom>
          <a:solidFill>
            <a:srgbClr val="FF0000"/>
          </a:solidFill>
          <a:ln w="9525" algn="ctr">
            <a:solidFill>
              <a:srgbClr val="FF0000"/>
            </a:solidFill>
            <a:round/>
            <a:headEnd/>
            <a:tailEnd/>
          </a:ln>
        </p:spPr>
        <p:txBody>
          <a:bodyPr wrap="square" anchor="ctr">
            <a:spAutoFit/>
          </a:bodyPr>
          <a:lstStyle>
            <a:lvl1pPr eaLnBrk="0" hangingPunct="0">
              <a:spcAft>
                <a:spcPts val="12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9pPr>
          </a:lstStyle>
          <a:p>
            <a:pPr algn="ctr" defTabSz="457200" eaLnBrk="1" hangingPunct="1">
              <a:spcBef>
                <a:spcPct val="50000"/>
              </a:spcBef>
              <a:spcAft>
                <a:spcPct val="0"/>
              </a:spcAft>
              <a:buFontTx/>
              <a:buNone/>
            </a:pPr>
            <a:endParaRPr lang="en-US" altLang="en-US" sz="1400">
              <a:solidFill>
                <a:prstClr val="black"/>
              </a:solidFill>
            </a:endParaRPr>
          </a:p>
        </p:txBody>
      </p:sp>
      <p:sp>
        <p:nvSpPr>
          <p:cNvPr id="21" name="TextBox 20"/>
          <p:cNvSpPr txBox="1">
            <a:spLocks noChangeArrowheads="1"/>
          </p:cNvSpPr>
          <p:nvPr/>
        </p:nvSpPr>
        <p:spPr bwMode="auto">
          <a:xfrm>
            <a:off x="1373187" y="1461682"/>
            <a:ext cx="7156639" cy="646113"/>
          </a:xfrm>
          <a:prstGeom prst="rect">
            <a:avLst/>
          </a:prstGeom>
          <a:solidFill>
            <a:srgbClr val="FFFF99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Aft>
                <a:spcPts val="12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9pPr>
          </a:lstStyle>
          <a:p>
            <a:pPr defTabSz="457200" eaLnBrk="1" hangingPunct="1">
              <a:spcAft>
                <a:spcPct val="0"/>
              </a:spcAft>
              <a:buFontTx/>
              <a:buNone/>
            </a:pPr>
            <a:r>
              <a:rPr lang="en-AU" altLang="en-US" sz="1800" dirty="0">
                <a:solidFill>
                  <a:prstClr val="black"/>
                </a:solidFill>
              </a:rPr>
              <a:t>Median number of male partner: </a:t>
            </a:r>
            <a:r>
              <a:rPr lang="en-AU" altLang="en-US" sz="1800" dirty="0" smtClean="0">
                <a:solidFill>
                  <a:prstClr val="black"/>
                </a:solidFill>
              </a:rPr>
              <a:t>3 </a:t>
            </a:r>
            <a:r>
              <a:rPr lang="en-AU" altLang="en-US" sz="1800" dirty="0">
                <a:solidFill>
                  <a:prstClr val="black"/>
                </a:solidFill>
              </a:rPr>
              <a:t>[04/05] to </a:t>
            </a:r>
            <a:r>
              <a:rPr lang="en-AU" altLang="en-US" sz="1800" dirty="0" smtClean="0">
                <a:solidFill>
                  <a:prstClr val="black"/>
                </a:solidFill>
              </a:rPr>
              <a:t>5 </a:t>
            </a:r>
            <a:r>
              <a:rPr lang="en-AU" altLang="en-US" sz="1800" dirty="0">
                <a:solidFill>
                  <a:prstClr val="black"/>
                </a:solidFill>
              </a:rPr>
              <a:t>[</a:t>
            </a:r>
            <a:r>
              <a:rPr lang="en-AU" altLang="en-US" sz="1800" dirty="0" smtClean="0">
                <a:solidFill>
                  <a:prstClr val="black"/>
                </a:solidFill>
              </a:rPr>
              <a:t>14/15]; </a:t>
            </a:r>
            <a:r>
              <a:rPr lang="en-AU" altLang="en-US" sz="1800" i="1" dirty="0">
                <a:solidFill>
                  <a:prstClr val="black"/>
                </a:solidFill>
              </a:rPr>
              <a:t>p</a:t>
            </a:r>
            <a:r>
              <a:rPr lang="en-AU" altLang="en-US" sz="1800" dirty="0">
                <a:solidFill>
                  <a:prstClr val="black"/>
                </a:solidFill>
              </a:rPr>
              <a:t>=0.001</a:t>
            </a:r>
          </a:p>
          <a:p>
            <a:pPr defTabSz="457200" eaLnBrk="1" hangingPunct="1">
              <a:spcAft>
                <a:spcPct val="0"/>
              </a:spcAft>
              <a:buFontTx/>
              <a:buNone/>
            </a:pPr>
            <a:r>
              <a:rPr lang="en-AU" altLang="en-US" sz="1800" dirty="0">
                <a:solidFill>
                  <a:prstClr val="black"/>
                </a:solidFill>
              </a:rPr>
              <a:t>100% condom in P12M: </a:t>
            </a:r>
            <a:r>
              <a:rPr lang="en-AU" altLang="en-US" sz="1800" dirty="0" smtClean="0">
                <a:solidFill>
                  <a:prstClr val="black"/>
                </a:solidFill>
              </a:rPr>
              <a:t>~</a:t>
            </a:r>
            <a:r>
              <a:rPr lang="en-AU" altLang="en-US" sz="1800" dirty="0">
                <a:solidFill>
                  <a:prstClr val="black"/>
                </a:solidFill>
              </a:rPr>
              <a:t>5</a:t>
            </a:r>
            <a:r>
              <a:rPr lang="en-AU" altLang="en-US" sz="1800" dirty="0" smtClean="0">
                <a:solidFill>
                  <a:prstClr val="black"/>
                </a:solidFill>
              </a:rPr>
              <a:t>%; </a:t>
            </a:r>
            <a:r>
              <a:rPr lang="en-AU" altLang="en-US" sz="1800" i="1" dirty="0" err="1" smtClean="0">
                <a:solidFill>
                  <a:prstClr val="black"/>
                </a:solidFill>
              </a:rPr>
              <a:t>p</a:t>
            </a:r>
            <a:r>
              <a:rPr lang="en-AU" altLang="en-US" sz="1800" i="1" baseline="-25000" dirty="0" err="1" smtClean="0">
                <a:solidFill>
                  <a:prstClr val="black"/>
                </a:solidFill>
              </a:rPr>
              <a:t>trend</a:t>
            </a:r>
            <a:r>
              <a:rPr lang="en-AU" altLang="en-US" sz="1800" dirty="0" smtClean="0">
                <a:solidFill>
                  <a:prstClr val="black"/>
                </a:solidFill>
              </a:rPr>
              <a:t>=0.790</a:t>
            </a:r>
            <a:endParaRPr lang="en-AU" altLang="en-US" sz="1800" dirty="0">
              <a:solidFill>
                <a:prstClr val="black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68818" y="3098799"/>
            <a:ext cx="595035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%</a:t>
            </a:r>
            <a:endParaRPr lang="en-A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06047" y="3935571"/>
            <a:ext cx="481222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%</a:t>
            </a:r>
            <a:endParaRPr lang="en-A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2658126" y="3431578"/>
            <a:ext cx="429613" cy="27305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ln w="57150"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25" name="Oval 24"/>
          <p:cNvSpPr/>
          <p:nvPr/>
        </p:nvSpPr>
        <p:spPr>
          <a:xfrm>
            <a:off x="3369114" y="4187136"/>
            <a:ext cx="429613" cy="273050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ln w="57150"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979029" y="3820046"/>
            <a:ext cx="481222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%</a:t>
            </a:r>
            <a:endParaRPr lang="en-A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6949930" y="4143375"/>
            <a:ext cx="1816565" cy="378205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ln w="57150">
                <a:solidFill>
                  <a:prstClr val="black"/>
                </a:solidFill>
              </a:ln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783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5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"/>
        </p:bldSub>
      </p:bldGraphic>
      <p:bldP spid="14" grpId="0" animBg="1"/>
      <p:bldP spid="16" grpId="0"/>
      <p:bldP spid="17" grpId="0"/>
      <p:bldP spid="18" grpId="0"/>
      <p:bldP spid="20" grpId="0" animBg="1"/>
      <p:bldP spid="19" grpId="0" animBg="1"/>
      <p:bldP spid="21" grpId="0" animBg="1"/>
      <p:bldP spid="22" grpId="0"/>
      <p:bldP spid="23" grpId="0"/>
      <p:bldP spid="24" grpId="0" animBg="1"/>
      <p:bldP spid="25" grpId="0" animBg="1"/>
      <p:bldP spid="26" grpId="0"/>
      <p:bldP spid="2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Overseas-born men</a:t>
            </a:r>
            <a:endParaRPr lang="en-AU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3232541" y="1420641"/>
            <a:ext cx="1047" cy="2899992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7350088" y="1420641"/>
            <a:ext cx="1047" cy="2900028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3"/>
          <p:cNvSpPr txBox="1"/>
          <p:nvPr/>
        </p:nvSpPr>
        <p:spPr>
          <a:xfrm>
            <a:off x="2500129" y="1052512"/>
            <a:ext cx="1464824" cy="458109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male vaccination </a:t>
            </a:r>
          </a:p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 </a:t>
            </a:r>
            <a:r>
              <a:rPr lang="en-A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pr, 2007)</a:t>
            </a:r>
            <a:endParaRPr lang="en-AU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6425835" y="1012249"/>
            <a:ext cx="1625965" cy="552808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 vaccination </a:t>
            </a:r>
          </a:p>
          <a:p>
            <a:pPr algn="ctr" defTabSz="457200"/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me (</a:t>
            </a:r>
            <a:r>
              <a:rPr lang="en-AU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b, </a:t>
            </a:r>
            <a:r>
              <a:rPr lang="en-AU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3)</a:t>
            </a:r>
          </a:p>
        </p:txBody>
      </p:sp>
      <p:graphicFrame>
        <p:nvGraphicFramePr>
          <p:cNvPr id="16" name="Chart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9589143"/>
              </p:ext>
            </p:extLst>
          </p:nvPr>
        </p:nvGraphicFramePr>
        <p:xfrm>
          <a:off x="66675" y="1175384"/>
          <a:ext cx="8988906" cy="39014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3291" r="4539" b="91360"/>
          <a:stretch/>
        </p:blipFill>
        <p:spPr bwMode="auto">
          <a:xfrm>
            <a:off x="3390533" y="1420641"/>
            <a:ext cx="3238867" cy="270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8790" r="4539" b="87148"/>
          <a:stretch/>
        </p:blipFill>
        <p:spPr bwMode="auto">
          <a:xfrm>
            <a:off x="3390532" y="1691640"/>
            <a:ext cx="3238867" cy="205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12484" r="4539" b="82919"/>
          <a:stretch/>
        </p:blipFill>
        <p:spPr bwMode="auto">
          <a:xfrm>
            <a:off x="3390533" y="1897380"/>
            <a:ext cx="3238867" cy="2328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687" t="16863" r="4539" b="78323"/>
          <a:stretch/>
        </p:blipFill>
        <p:spPr bwMode="auto">
          <a:xfrm>
            <a:off x="3390533" y="2130240"/>
            <a:ext cx="3238867" cy="243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4328933" y="1411776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=0.325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347983" y="1630851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=0.319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452758" y="1859451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=0.014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481583" y="2098291"/>
            <a:ext cx="9749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r>
              <a:rPr lang="en-A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=0.004)</a:t>
            </a:r>
            <a:endParaRPr lang="en-AU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1373186" y="1784738"/>
            <a:ext cx="7156639" cy="369332"/>
          </a:xfrm>
          <a:prstGeom prst="rect">
            <a:avLst/>
          </a:prstGeom>
          <a:solidFill>
            <a:srgbClr val="FFFF99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Aft>
                <a:spcPts val="12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charset="0"/>
              </a:defRPr>
            </a:lvl9pPr>
          </a:lstStyle>
          <a:p>
            <a:pPr algn="ctr" defTabSz="457200" eaLnBrk="1" hangingPunct="1">
              <a:spcAft>
                <a:spcPct val="0"/>
              </a:spcAft>
              <a:buFontTx/>
              <a:buNone/>
            </a:pPr>
            <a:r>
              <a:rPr lang="en-AU" altLang="en-US" sz="1800" dirty="0" smtClean="0">
                <a:solidFill>
                  <a:prstClr val="black"/>
                </a:solidFill>
              </a:rPr>
              <a:t>Significant decline in genotypes 16/18 but NOT in 6/11</a:t>
            </a:r>
            <a:endParaRPr lang="en-AU" altLang="en-US" sz="1800" dirty="0">
              <a:solidFill>
                <a:prstClr val="black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530637" y="2313866"/>
            <a:ext cx="2571538" cy="923330"/>
          </a:xfrm>
          <a:prstGeom prst="rect">
            <a:avLst/>
          </a:prstGeom>
          <a:solidFill>
            <a:srgbClr val="FF6600"/>
          </a:solidFill>
        </p:spPr>
        <p:txBody>
          <a:bodyPr wrap="non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5400" b="1" kern="0" dirty="0" smtClean="0">
                <a:ln w="11430"/>
                <a:solidFill>
                  <a:srgbClr val="FFC000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WHY???</a:t>
            </a:r>
          </a:p>
        </p:txBody>
      </p:sp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1373187" y="1187564"/>
            <a:ext cx="7156639" cy="646113"/>
          </a:xfrm>
          <a:prstGeom prst="rect">
            <a:avLst/>
          </a:prstGeom>
          <a:solidFill>
            <a:srgbClr val="FFFF99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spcAft>
                <a:spcPts val="1200"/>
              </a:spcAft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Helvetica" pitchFamily="34" charset="0"/>
                <a:cs typeface="Arial" pitchFamily="34" charset="0"/>
              </a:defRPr>
            </a:lvl9pPr>
          </a:lstStyle>
          <a:p>
            <a:pPr defTabSz="457200" eaLnBrk="1" hangingPunct="1">
              <a:spcAft>
                <a:spcPct val="0"/>
              </a:spcAft>
              <a:buFontTx/>
              <a:buNone/>
            </a:pPr>
            <a:r>
              <a:rPr lang="en-AU" altLang="en-US" sz="1800" dirty="0">
                <a:solidFill>
                  <a:prstClr val="black"/>
                </a:solidFill>
              </a:rPr>
              <a:t>Median number of male partner: </a:t>
            </a:r>
            <a:r>
              <a:rPr lang="en-AU" altLang="en-US" sz="1800" dirty="0" smtClean="0">
                <a:solidFill>
                  <a:prstClr val="black"/>
                </a:solidFill>
              </a:rPr>
              <a:t>3 </a:t>
            </a:r>
            <a:r>
              <a:rPr lang="en-AU" altLang="en-US" sz="1800" dirty="0">
                <a:solidFill>
                  <a:prstClr val="black"/>
                </a:solidFill>
              </a:rPr>
              <a:t>[04/05] to </a:t>
            </a:r>
            <a:r>
              <a:rPr lang="en-AU" altLang="en-US" sz="1800" dirty="0" smtClean="0">
                <a:solidFill>
                  <a:prstClr val="black"/>
                </a:solidFill>
              </a:rPr>
              <a:t>5 </a:t>
            </a:r>
            <a:r>
              <a:rPr lang="en-AU" altLang="en-US" sz="1800" dirty="0">
                <a:solidFill>
                  <a:prstClr val="black"/>
                </a:solidFill>
              </a:rPr>
              <a:t>[</a:t>
            </a:r>
            <a:r>
              <a:rPr lang="en-AU" altLang="en-US" sz="1800" dirty="0" smtClean="0">
                <a:solidFill>
                  <a:prstClr val="black"/>
                </a:solidFill>
              </a:rPr>
              <a:t>14/15]; </a:t>
            </a:r>
            <a:r>
              <a:rPr lang="en-AU" altLang="en-US" sz="1800" i="1" dirty="0" smtClean="0">
                <a:solidFill>
                  <a:prstClr val="black"/>
                </a:solidFill>
              </a:rPr>
              <a:t>p</a:t>
            </a:r>
            <a:r>
              <a:rPr lang="en-AU" altLang="en-US" sz="1800" dirty="0" smtClean="0">
                <a:solidFill>
                  <a:prstClr val="black"/>
                </a:solidFill>
              </a:rPr>
              <a:t>=0.014</a:t>
            </a:r>
            <a:endParaRPr lang="en-AU" altLang="en-US" sz="1800" dirty="0">
              <a:solidFill>
                <a:prstClr val="black"/>
              </a:solidFill>
            </a:endParaRPr>
          </a:p>
          <a:p>
            <a:pPr defTabSz="457200" eaLnBrk="1" hangingPunct="1">
              <a:spcAft>
                <a:spcPct val="0"/>
              </a:spcAft>
              <a:buFontTx/>
              <a:buNone/>
            </a:pPr>
            <a:r>
              <a:rPr lang="en-AU" altLang="en-US" sz="1800" dirty="0">
                <a:solidFill>
                  <a:prstClr val="black"/>
                </a:solidFill>
              </a:rPr>
              <a:t>100% condom in P12M: </a:t>
            </a:r>
            <a:r>
              <a:rPr lang="en-AU" altLang="en-US" sz="1800" dirty="0" smtClean="0">
                <a:solidFill>
                  <a:prstClr val="black"/>
                </a:solidFill>
              </a:rPr>
              <a:t>~</a:t>
            </a:r>
            <a:r>
              <a:rPr lang="en-AU" altLang="en-US" sz="1800" dirty="0">
                <a:solidFill>
                  <a:prstClr val="black"/>
                </a:solidFill>
              </a:rPr>
              <a:t>5</a:t>
            </a:r>
            <a:r>
              <a:rPr lang="en-AU" altLang="en-US" sz="1800" dirty="0" smtClean="0">
                <a:solidFill>
                  <a:prstClr val="black"/>
                </a:solidFill>
              </a:rPr>
              <a:t>%; </a:t>
            </a:r>
            <a:r>
              <a:rPr lang="en-AU" altLang="en-US" sz="1800" i="1" dirty="0" err="1" smtClean="0">
                <a:solidFill>
                  <a:prstClr val="black"/>
                </a:solidFill>
              </a:rPr>
              <a:t>p</a:t>
            </a:r>
            <a:r>
              <a:rPr lang="en-AU" altLang="en-US" sz="1800" i="1" baseline="-25000" dirty="0" err="1" smtClean="0">
                <a:solidFill>
                  <a:prstClr val="black"/>
                </a:solidFill>
              </a:rPr>
              <a:t>trend</a:t>
            </a:r>
            <a:r>
              <a:rPr lang="en-AU" altLang="en-US" sz="1800" dirty="0" smtClean="0">
                <a:solidFill>
                  <a:prstClr val="black"/>
                </a:solidFill>
              </a:rPr>
              <a:t>=0.889</a:t>
            </a:r>
            <a:endParaRPr lang="en-AU" altLang="en-US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8523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6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6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6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6" grpId="0">
        <p:bldSub>
          <a:bldChart bld="series"/>
        </p:bldSub>
      </p:bldGraphic>
      <p:bldP spid="22" grpId="0"/>
      <p:bldP spid="23" grpId="0"/>
      <p:bldP spid="24" grpId="0"/>
      <p:bldP spid="25" grpId="0" animBg="1"/>
      <p:bldP spid="27" grpId="0" animBg="1"/>
      <p:bldP spid="2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1026" name="Picture 2" descr="Political Map of the Worl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5833"/>
            <a:ext cx="9144000" cy="4642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/>
          <p:cNvSpPr/>
          <p:nvPr/>
        </p:nvSpPr>
        <p:spPr>
          <a:xfrm>
            <a:off x="152400" y="2805113"/>
            <a:ext cx="195263" cy="19288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-3103" y="3057129"/>
            <a:ext cx="1249060" cy="33855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Cook Islands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0" t="8333" r="58937" b="14334"/>
          <a:stretch/>
        </p:blipFill>
        <p:spPr bwMode="auto">
          <a:xfrm>
            <a:off x="477497" y="0"/>
            <a:ext cx="3571875" cy="2980845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4087091" y="809626"/>
            <a:ext cx="367434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091418" y="1285026"/>
            <a:ext cx="429613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458624" y="442105"/>
            <a:ext cx="604575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961146" y="2016220"/>
            <a:ext cx="604575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1521031" y="2183543"/>
            <a:ext cx="440116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381158" y="2196647"/>
            <a:ext cx="668214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6" name="Curved Right Arrow 5"/>
          <p:cNvSpPr/>
          <p:nvPr/>
        </p:nvSpPr>
        <p:spPr>
          <a:xfrm rot="4093736">
            <a:off x="2770348" y="-299977"/>
            <a:ext cx="834626" cy="1999340"/>
          </a:xfrm>
          <a:prstGeom prst="curvedRightArrow">
            <a:avLst>
              <a:gd name="adj1" fmla="val 12185"/>
              <a:gd name="adj2" fmla="val 61307"/>
              <a:gd name="adj3" fmla="val 41231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-3104" y="3384619"/>
            <a:ext cx="1618648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Northern</a:t>
            </a:r>
            <a:r>
              <a:rPr lang="en-AU" sz="1600" b="1" dirty="0" smtClean="0">
                <a:solidFill>
                  <a:srgbClr val="FFFF00"/>
                </a:solidFill>
              </a:rPr>
              <a:t> </a:t>
            </a:r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Ireland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3726029"/>
            <a:ext cx="921021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Scotland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3105" y="4064583"/>
            <a:ext cx="864339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England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0" y="4403137"/>
            <a:ext cx="698204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Wales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052" y="4741691"/>
            <a:ext cx="1231619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Netherlands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pic>
        <p:nvPicPr>
          <p:cNvPr id="2051" name="Picture 3" descr="C:\Users\echow\AppData\Local\Microsoft\Windows\Temporary Internet Files\Content.IE5\VZBIVYGY\Replacement-1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093" y="1874088"/>
            <a:ext cx="238436" cy="498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echow\AppData\Local\Microsoft\Windows\Temporary Internet Files\Content.IE5\4LF2YMW0\child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5176" y="1734392"/>
            <a:ext cx="392576" cy="55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echow\AppData\Local\Microsoft\Windows\Temporary Internet Files\Content.IE5\O05XWM69\comic-boy[1]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720" y="2008258"/>
            <a:ext cx="264379" cy="401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C:\Users\echow\AppData\Local\Microsoft\Windows\Temporary Internet Files\Content.IE5\VZBIVYGY\Replacement-1[1]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206" y="1026123"/>
            <a:ext cx="221908" cy="46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echow\AppData\Local\Microsoft\Windows\Temporary Internet Files\Content.IE5\4S5EOLPE\winkboy[1]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6" y="2333172"/>
            <a:ext cx="286354" cy="454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Users\echow\AppData\Local\Microsoft\Windows\Temporary Internet Files\Content.IE5\4LF2YMW0\winking-boy-8581-large[1]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857" y="202198"/>
            <a:ext cx="232107" cy="51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Brace 6"/>
          <p:cNvSpPr/>
          <p:nvPr/>
        </p:nvSpPr>
        <p:spPr>
          <a:xfrm>
            <a:off x="1741089" y="3057129"/>
            <a:ext cx="220058" cy="1996612"/>
          </a:xfrm>
          <a:prstGeom prst="rightBrace">
            <a:avLst/>
          </a:prstGeom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61174" y="3853413"/>
            <a:ext cx="4187172" cy="369332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defTabSz="457200"/>
            <a:r>
              <a:rPr lang="en-AU" b="1" dirty="0" smtClean="0">
                <a:solidFill>
                  <a:prstClr val="white"/>
                </a:solidFill>
              </a:rPr>
              <a:t>National bivalent vaccination programme </a:t>
            </a:r>
            <a:endParaRPr lang="en-AU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768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5" dur="5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8" dur="5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1" dur="500"/>
                                        <p:tgtEl>
                                          <p:spTgt spid="20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20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7" dur="500"/>
                                        <p:tgtEl>
                                          <p:spTgt spid="20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8" grpId="0" animBg="1"/>
      <p:bldP spid="9" grpId="0" animBg="1"/>
      <p:bldP spid="11" grpId="0" animBg="1"/>
      <p:bldP spid="13" grpId="0" animBg="1"/>
      <p:bldP spid="15" grpId="0" animBg="1"/>
      <p:bldP spid="16" grpId="0" animBg="1"/>
      <p:bldP spid="6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7" grpId="0" animBg="1"/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1026" name="Picture 2" descr="Political Map of the Worl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5833"/>
            <a:ext cx="9144000" cy="4642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val 3"/>
          <p:cNvSpPr/>
          <p:nvPr/>
        </p:nvSpPr>
        <p:spPr>
          <a:xfrm>
            <a:off x="152400" y="2805113"/>
            <a:ext cx="195263" cy="19288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00" t="8333" r="58937" b="14334"/>
          <a:stretch/>
        </p:blipFill>
        <p:spPr bwMode="auto">
          <a:xfrm>
            <a:off x="477497" y="0"/>
            <a:ext cx="3571875" cy="298084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Oval 7"/>
          <p:cNvSpPr/>
          <p:nvPr/>
        </p:nvSpPr>
        <p:spPr>
          <a:xfrm>
            <a:off x="4087091" y="809626"/>
            <a:ext cx="367434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1091418" y="1285026"/>
            <a:ext cx="429613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1458624" y="442105"/>
            <a:ext cx="604575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1961146" y="2016220"/>
            <a:ext cx="604575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5" name="Oval 14"/>
          <p:cNvSpPr/>
          <p:nvPr/>
        </p:nvSpPr>
        <p:spPr>
          <a:xfrm>
            <a:off x="1521031" y="2183543"/>
            <a:ext cx="440116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16" name="Oval 15"/>
          <p:cNvSpPr/>
          <p:nvPr/>
        </p:nvSpPr>
        <p:spPr>
          <a:xfrm>
            <a:off x="3381158" y="2196647"/>
            <a:ext cx="668214" cy="27305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6" name="Curved Right Arrow 5"/>
          <p:cNvSpPr/>
          <p:nvPr/>
        </p:nvSpPr>
        <p:spPr>
          <a:xfrm rot="4093736">
            <a:off x="2770348" y="-299977"/>
            <a:ext cx="834626" cy="1999340"/>
          </a:xfrm>
          <a:prstGeom prst="curvedRightArrow">
            <a:avLst>
              <a:gd name="adj1" fmla="val 12185"/>
              <a:gd name="adj2" fmla="val 61307"/>
              <a:gd name="adj3" fmla="val 41231"/>
            </a:avLst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black"/>
              </a:solidFill>
            </a:endParaRPr>
          </a:p>
        </p:txBody>
      </p:sp>
      <p:pic>
        <p:nvPicPr>
          <p:cNvPr id="2051" name="Picture 3" descr="C:\Users\echow\AppData\Local\Microsoft\Windows\Temporary Internet Files\Content.IE5\VZBIVYGY\Replacement-1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0093" y="1874088"/>
            <a:ext cx="238436" cy="4988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echow\AppData\Local\Microsoft\Windows\Temporary Internet Files\Content.IE5\4LF2YMW0\child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5176" y="1734392"/>
            <a:ext cx="392576" cy="554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3" name="Picture 5" descr="C:\Users\echow\AppData\Local\Microsoft\Windows\Temporary Internet Files\Content.IE5\O05XWM69\comic-boy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8720" y="2008258"/>
            <a:ext cx="264379" cy="4018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5" name="Picture 7" descr="C:\Users\echow\AppData\Local\Microsoft\Windows\Temporary Internet Files\Content.IE5\VZBIVYGY\Replacement-1[1]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8206" y="1026123"/>
            <a:ext cx="221908" cy="464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C:\Users\echow\AppData\Local\Microsoft\Windows\Temporary Internet Files\Content.IE5\4S5EOLPE\winkboy[1]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16" y="2333172"/>
            <a:ext cx="286354" cy="454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9" name="Picture 11" descr="C:\Users\echow\AppData\Local\Microsoft\Windows\Temporary Internet Files\Content.IE5\4LF2YMW0\winking-boy-8581-large[1]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4857" y="202198"/>
            <a:ext cx="232107" cy="51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019491" y="4051107"/>
            <a:ext cx="3183179" cy="369332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none" rtlCol="0">
            <a:spAutoFit/>
          </a:bodyPr>
          <a:lstStyle/>
          <a:p>
            <a:pPr defTabSz="457200"/>
            <a:r>
              <a:rPr lang="en-AU" b="1" dirty="0" smtClean="0">
                <a:solidFill>
                  <a:prstClr val="white"/>
                </a:solidFill>
              </a:rPr>
              <a:t>Arrived Australia within 2 years</a:t>
            </a:r>
            <a:endParaRPr lang="en-AU" b="1" dirty="0">
              <a:solidFill>
                <a:prstClr val="white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-3103" y="3057129"/>
            <a:ext cx="1249060" cy="338554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Cook Islands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-3104" y="3384619"/>
            <a:ext cx="1618648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Northern</a:t>
            </a:r>
            <a:r>
              <a:rPr lang="en-AU" sz="1600" b="1" dirty="0" smtClean="0">
                <a:solidFill>
                  <a:srgbClr val="FFFF00"/>
                </a:solidFill>
              </a:rPr>
              <a:t> </a:t>
            </a:r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Ireland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0" y="3726029"/>
            <a:ext cx="921021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Scotland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-3105" y="4064583"/>
            <a:ext cx="864339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England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0" y="4403137"/>
            <a:ext cx="698204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Wales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052" y="4741691"/>
            <a:ext cx="1231619" cy="33855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1600" b="1" dirty="0" smtClean="0">
                <a:solidFill>
                  <a:srgbClr val="4472C4">
                    <a:lumMod val="50000"/>
                  </a:srgbClr>
                </a:solidFill>
              </a:rPr>
              <a:t>Netherlands</a:t>
            </a:r>
            <a:endParaRPr lang="en-AU" sz="1600" b="1" dirty="0">
              <a:solidFill>
                <a:srgbClr val="4472C4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852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2.38742E-6 L 0.37882 -2.38742E-6 C 0.54879 -2.38742E-6 0.75781 0.04103 0.75781 0.07434 L 0.75781 0.14898 " pathEditMode="relative" rAng="0" ptsTypes="FfFF">
                                      <p:cBhvr>
                                        <p:cTn id="6" dur="20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7882" y="743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-4.05305E-6 L 0.30417 -4.05305E-6 C 0.44063 -4.05305E-6 0.60851 0.15392 0.60851 0.27823 L 0.60851 0.55768 " pathEditMode="relative" rAng="0" ptsTypes="FfFF">
                                      <p:cBhvr>
                                        <p:cTn id="8" dur="2000" fill="hold"/>
                                        <p:tgtEl>
                                          <p:spTgt spid="20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417" y="27884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3.6459E-6 L 0.34011 -3.6459E-6 C 0.49271 -3.6459E-6 0.68039 0.11105 0.68039 0.20081 L 0.68039 0.40222 " pathEditMode="relative" rAng="0" ptsTypes="FfFF">
                                      <p:cBhvr>
                                        <p:cTn id="10" dur="20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010" y="20111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3.86181E-6 L 0.32605 3.86181E-6 C 0.47223 3.86181E-6 0.65209 0.05953 0.65209 0.10826 L 0.65209 0.21745 " pathEditMode="relative" rAng="0" ptsTypes="FfFF">
                                      <p:cBhvr>
                                        <p:cTn id="12" dur="2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604" y="10857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1.85688E-6 L 0.30503 1.85688E-6 C 0.44184 1.85688E-6 0.61007 0.07033 0.61007 0.12739 L 0.61007 0.2557 " pathEditMode="relative" rAng="0" ptsTypes="FfFF">
                                      <p:cBhvr>
                                        <p:cTn id="14" dur="2000" fill="hold"/>
                                        <p:tgtEl>
                                          <p:spTgt spid="20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503" y="12770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5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6 1.79519E-6 L 0.2375 1.79519E-6 C 0.3441 1.79519E-6 0.47518 0.06446 0.47518 0.11659 L 0.47518 0.2338 " pathEditMode="relative" rAng="0" ptsTypes="FfFF">
                                      <p:cBhvr>
                                        <p:cTn id="16" dur="2000" fill="hold"/>
                                        <p:tgtEl>
                                          <p:spTgt spid="20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750" y="116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8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34" r="22223"/>
          <a:stretch/>
        </p:blipFill>
        <p:spPr bwMode="auto">
          <a:xfrm>
            <a:off x="264894" y="1589356"/>
            <a:ext cx="3904788" cy="3028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Overseas-born men</a:t>
            </a:r>
            <a:endParaRPr lang="en-AU" dirty="0"/>
          </a:p>
        </p:txBody>
      </p:sp>
      <p:sp>
        <p:nvSpPr>
          <p:cNvPr id="24" name="Content Placeholder 2"/>
          <p:cNvSpPr txBox="1">
            <a:spLocks/>
          </p:cNvSpPr>
          <p:nvPr/>
        </p:nvSpPr>
        <p:spPr bwMode="auto">
          <a:xfrm>
            <a:off x="1553410" y="1796546"/>
            <a:ext cx="2497889" cy="22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AU" sz="1400" dirty="0" smtClean="0">
                <a:solidFill>
                  <a:prstClr val="black"/>
                </a:solidFill>
              </a:rPr>
              <a:t>P=0.006              P=0.130  </a:t>
            </a:r>
            <a:endParaRPr lang="en-AU" sz="1400" dirty="0">
              <a:solidFill>
                <a:prstClr val="black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860425" y="1700432"/>
            <a:ext cx="1705393" cy="2917565"/>
          </a:xfrm>
          <a:prstGeom prst="rect">
            <a:avLst/>
          </a:prstGeom>
          <a:noFill/>
          <a:ln w="38100"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34" r="22144"/>
          <a:stretch/>
        </p:blipFill>
        <p:spPr bwMode="auto">
          <a:xfrm>
            <a:off x="4541152" y="1700431"/>
            <a:ext cx="3922554" cy="2864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Content Placeholder 2"/>
          <p:cNvSpPr txBox="1">
            <a:spLocks/>
          </p:cNvSpPr>
          <p:nvPr/>
        </p:nvSpPr>
        <p:spPr bwMode="auto">
          <a:xfrm>
            <a:off x="5752764" y="1624361"/>
            <a:ext cx="2497889" cy="224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AU" sz="1400" dirty="0" smtClean="0">
                <a:solidFill>
                  <a:prstClr val="black"/>
                </a:solidFill>
              </a:rPr>
              <a:t>P=0.234             P=0.306  </a:t>
            </a:r>
            <a:endParaRPr lang="en-AU" sz="14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217287" y="1176488"/>
            <a:ext cx="891591" cy="43088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defTabSz="457200"/>
            <a:r>
              <a:rPr lang="en-AU" sz="2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/18</a:t>
            </a:r>
            <a:endParaRPr lang="en-AU" sz="2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502427" y="1169234"/>
            <a:ext cx="769229" cy="4308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defTabSz="457200"/>
            <a:r>
              <a:rPr lang="en-AU" sz="2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/11</a:t>
            </a:r>
            <a:endParaRPr lang="en-AU" sz="2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4777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2" grpId="0"/>
      <p:bldP spid="2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Take home messages 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416089" cy="2966486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AU" dirty="0" smtClean="0"/>
              <a:t>With a high female vaccination coverage (84%), large reduction in genotypes 6/11/16/18 among mainly unvaccinated Australian-born men</a:t>
            </a:r>
          </a:p>
          <a:p>
            <a:pPr lvl="1"/>
            <a:r>
              <a:rPr lang="en-AU" dirty="0" smtClean="0"/>
              <a:t>Evidence of herd protection from the female HPV programme</a:t>
            </a:r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Decline in 16/18 but not in 6/11 among overseas-born men predominantly from countries with </a:t>
            </a:r>
            <a:r>
              <a:rPr lang="en-AU" dirty="0" smtClean="0"/>
              <a:t>a bivalent vaccine </a:t>
            </a:r>
            <a:r>
              <a:rPr lang="en-AU" dirty="0"/>
              <a:t>programme </a:t>
            </a:r>
          </a:p>
          <a:p>
            <a:pPr lvl="1"/>
            <a:r>
              <a:rPr lang="en-AU" dirty="0"/>
              <a:t>Evidence of herd protection </a:t>
            </a:r>
            <a:r>
              <a:rPr lang="en-AU" dirty="0" smtClean="0"/>
              <a:t>for </a:t>
            </a:r>
            <a:r>
              <a:rPr lang="en-AU" dirty="0"/>
              <a:t>genotypes 16 and </a:t>
            </a:r>
            <a:r>
              <a:rPr lang="en-AU" dirty="0" smtClean="0"/>
              <a:t>18 from </a:t>
            </a:r>
            <a:r>
              <a:rPr lang="en-AU" dirty="0"/>
              <a:t>their vaccinated female partners in their own countries</a:t>
            </a:r>
          </a:p>
          <a:p>
            <a:pPr marL="457200" indent="-457200">
              <a:buFont typeface="+mj-lt"/>
              <a:buAutoNum type="arabicPeriod"/>
            </a:pP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41094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626" t="11113" r="1624" b="17087"/>
          <a:stretch/>
        </p:blipFill>
        <p:spPr bwMode="auto">
          <a:xfrm>
            <a:off x="277584" y="195942"/>
            <a:ext cx="8689605" cy="4528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89787" y="315557"/>
            <a:ext cx="5796713" cy="487718"/>
          </a:xfrm>
        </p:spPr>
        <p:txBody>
          <a:bodyPr/>
          <a:lstStyle/>
          <a:p>
            <a:pPr marL="0" indent="0">
              <a:buNone/>
            </a:pPr>
            <a:r>
              <a:rPr lang="en-AU" sz="2000" dirty="0" smtClean="0">
                <a:solidFill>
                  <a:schemeClr val="accent5">
                    <a:lumMod val="75000"/>
                  </a:schemeClr>
                </a:solidFill>
              </a:rPr>
              <a:t>Chow EP, </a:t>
            </a:r>
            <a:r>
              <a:rPr lang="en-AU" sz="2000" i="1" dirty="0" smtClean="0">
                <a:solidFill>
                  <a:schemeClr val="accent5">
                    <a:lumMod val="75000"/>
                  </a:schemeClr>
                </a:solidFill>
              </a:rPr>
              <a:t>et al</a:t>
            </a:r>
            <a:r>
              <a:rPr lang="en-AU" sz="2000" b="1" dirty="0" smtClean="0">
                <a:solidFill>
                  <a:schemeClr val="accent5">
                    <a:lumMod val="75000"/>
                  </a:schemeClr>
                </a:solidFill>
              </a:rPr>
              <a:t>.</a:t>
            </a:r>
            <a:r>
              <a:rPr lang="en-AU" sz="2000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AU" sz="2000" b="1" i="1" dirty="0" smtClean="0">
                <a:solidFill>
                  <a:schemeClr val="accent5">
                    <a:lumMod val="75000"/>
                  </a:schemeClr>
                </a:solidFill>
              </a:rPr>
              <a:t>The Lancet Infectious Diseases</a:t>
            </a:r>
            <a:r>
              <a:rPr lang="en-AU" sz="2000" dirty="0" smtClean="0">
                <a:solidFill>
                  <a:schemeClr val="accent5">
                    <a:lumMod val="75000"/>
                  </a:schemeClr>
                </a:solidFill>
              </a:rPr>
              <a:t>. Online 6 June 2016</a:t>
            </a:r>
          </a:p>
          <a:p>
            <a:pPr marL="0" indent="0">
              <a:buNone/>
            </a:pPr>
            <a:endParaRPr lang="en-AU" sz="1200" dirty="0"/>
          </a:p>
        </p:txBody>
      </p:sp>
    </p:spTree>
    <p:extLst>
      <p:ext uri="{BB962C8B-B14F-4D97-AF65-F5344CB8AC3E}">
        <p14:creationId xmlns:p14="http://schemas.microsoft.com/office/powerpoint/2010/main" val="2357367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236" t="11062" r="4129" b="12445"/>
          <a:stretch/>
        </p:blipFill>
        <p:spPr bwMode="auto">
          <a:xfrm>
            <a:off x="1155700" y="181428"/>
            <a:ext cx="7988300" cy="4962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32134" y="326056"/>
            <a:ext cx="5768552" cy="773143"/>
          </a:xfrm>
        </p:spPr>
        <p:txBody>
          <a:bodyPr/>
          <a:lstStyle/>
          <a:p>
            <a:pPr marL="0" indent="0">
              <a:buNone/>
            </a:pPr>
            <a:r>
              <a:rPr lang="en-AU" sz="2000" dirty="0" err="1" smtClean="0">
                <a:solidFill>
                  <a:schemeClr val="accent5">
                    <a:lumMod val="75000"/>
                  </a:schemeClr>
                </a:solidFill>
              </a:rPr>
              <a:t>Schiffman</a:t>
            </a:r>
            <a:r>
              <a:rPr lang="en-AU" sz="2000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AU" sz="2000" dirty="0">
                <a:solidFill>
                  <a:schemeClr val="accent5">
                    <a:lumMod val="75000"/>
                  </a:schemeClr>
                </a:solidFill>
              </a:rPr>
              <a:t>M, </a:t>
            </a:r>
            <a:r>
              <a:rPr lang="en-AU" sz="2000" dirty="0" err="1">
                <a:solidFill>
                  <a:schemeClr val="accent5">
                    <a:lumMod val="75000"/>
                  </a:schemeClr>
                </a:solidFill>
              </a:rPr>
              <a:t>Saraiya</a:t>
            </a:r>
            <a:r>
              <a:rPr lang="en-AU" sz="20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AU" sz="2000" dirty="0" smtClean="0">
                <a:solidFill>
                  <a:schemeClr val="accent5">
                    <a:lumMod val="75000"/>
                  </a:schemeClr>
                </a:solidFill>
              </a:rPr>
              <a:t>M. </a:t>
            </a:r>
            <a:r>
              <a:rPr lang="en-AU" sz="2000" b="1" i="1" dirty="0" smtClean="0">
                <a:solidFill>
                  <a:schemeClr val="accent5">
                    <a:lumMod val="75000"/>
                  </a:schemeClr>
                </a:solidFill>
              </a:rPr>
              <a:t>The </a:t>
            </a:r>
            <a:r>
              <a:rPr lang="en-AU" sz="2000" b="1" i="1" dirty="0">
                <a:solidFill>
                  <a:schemeClr val="accent5">
                    <a:lumMod val="75000"/>
                  </a:schemeClr>
                </a:solidFill>
              </a:rPr>
              <a:t>Lancet Infectious Diseases</a:t>
            </a:r>
            <a:r>
              <a:rPr lang="en-AU" sz="2000" dirty="0">
                <a:solidFill>
                  <a:schemeClr val="accent5">
                    <a:lumMod val="75000"/>
                  </a:schemeClr>
                </a:solidFill>
              </a:rPr>
              <a:t>. </a:t>
            </a:r>
            <a:r>
              <a:rPr lang="en-AU" sz="2000" dirty="0" smtClean="0">
                <a:solidFill>
                  <a:schemeClr val="accent5">
                    <a:lumMod val="75000"/>
                  </a:schemeClr>
                </a:solidFill>
              </a:rPr>
              <a:t>Online </a:t>
            </a:r>
            <a:r>
              <a:rPr lang="en-AU" sz="2000" dirty="0">
                <a:solidFill>
                  <a:schemeClr val="accent5">
                    <a:lumMod val="75000"/>
                  </a:schemeClr>
                </a:solidFill>
              </a:rPr>
              <a:t>6 June </a:t>
            </a:r>
            <a:r>
              <a:rPr lang="en-AU" sz="2000" dirty="0" smtClean="0">
                <a:solidFill>
                  <a:schemeClr val="accent5">
                    <a:lumMod val="75000"/>
                  </a:schemeClr>
                </a:solidFill>
              </a:rPr>
              <a:t>2016</a:t>
            </a:r>
            <a:endParaRPr lang="en-AU" sz="2000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AU" sz="2000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AU" sz="2000" dirty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AU" sz="2000" dirty="0" smtClean="0">
              <a:solidFill>
                <a:schemeClr val="accent5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AU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43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cknowledgment 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397039" cy="3207786"/>
          </a:xfrm>
        </p:spPr>
        <p:txBody>
          <a:bodyPr numCol="2" spcCol="180000"/>
          <a:lstStyle/>
          <a:p>
            <a:pPr marL="0" indent="0">
              <a:buNone/>
            </a:pPr>
            <a:r>
              <a:rPr lang="en-AU" sz="2000" dirty="0" smtClean="0">
                <a:solidFill>
                  <a:srgbClr val="7030A0"/>
                </a:solidFill>
              </a:rPr>
              <a:t>Melbourne Sexual Health Centre</a:t>
            </a:r>
          </a:p>
          <a:p>
            <a:pPr lvl="1"/>
            <a:r>
              <a:rPr lang="en-AU" sz="1600" dirty="0" smtClean="0"/>
              <a:t>Christopher Fairley </a:t>
            </a:r>
          </a:p>
          <a:p>
            <a:pPr lvl="1"/>
            <a:r>
              <a:rPr lang="en-AU" sz="1600" dirty="0" smtClean="0"/>
              <a:t>Catriona Bradshaw</a:t>
            </a:r>
          </a:p>
          <a:p>
            <a:pPr lvl="1"/>
            <a:r>
              <a:rPr lang="en-AU" sz="1600" dirty="0" smtClean="0"/>
              <a:t>Marcus Chen </a:t>
            </a:r>
          </a:p>
          <a:p>
            <a:pPr lvl="1"/>
            <a:r>
              <a:rPr lang="en-AU" sz="1600" dirty="0" smtClean="0"/>
              <a:t>Glenda Fehler </a:t>
            </a:r>
          </a:p>
          <a:p>
            <a:pPr marL="0" indent="0">
              <a:buNone/>
            </a:pPr>
            <a:r>
              <a:rPr lang="en-AU" sz="2000" dirty="0" smtClean="0">
                <a:solidFill>
                  <a:srgbClr val="7030A0"/>
                </a:solidFill>
              </a:rPr>
              <a:t>The Royal Women’s Hospital </a:t>
            </a:r>
          </a:p>
          <a:p>
            <a:pPr lvl="1"/>
            <a:r>
              <a:rPr lang="en-AU" sz="1600" dirty="0"/>
              <a:t>Dorothy </a:t>
            </a:r>
            <a:r>
              <a:rPr lang="en-AU" sz="1600" dirty="0" smtClean="0"/>
              <a:t>Machalek</a:t>
            </a:r>
          </a:p>
          <a:p>
            <a:pPr lvl="1"/>
            <a:r>
              <a:rPr lang="en-AU" sz="1600" dirty="0" smtClean="0"/>
              <a:t>Sepehr Tabrizi </a:t>
            </a:r>
          </a:p>
          <a:p>
            <a:pPr lvl="1"/>
            <a:r>
              <a:rPr lang="en-AU" sz="1600" dirty="0" smtClean="0"/>
              <a:t>Jennifer </a:t>
            </a:r>
            <a:r>
              <a:rPr lang="en-AU" sz="1600" dirty="0" err="1" smtClean="0"/>
              <a:t>Dainelewski</a:t>
            </a:r>
            <a:r>
              <a:rPr lang="en-AU" sz="1600" dirty="0" smtClean="0"/>
              <a:t> </a:t>
            </a:r>
          </a:p>
          <a:p>
            <a:pPr lvl="1"/>
            <a:r>
              <a:rPr lang="en-AU" sz="1600" dirty="0" smtClean="0"/>
              <a:t>Suzanne Garland </a:t>
            </a:r>
            <a:endParaRPr lang="en-AU" sz="1600" dirty="0"/>
          </a:p>
          <a:p>
            <a:pPr marL="0" indent="0">
              <a:buNone/>
            </a:pPr>
            <a:r>
              <a:rPr lang="en-AU" sz="2000" dirty="0" smtClean="0">
                <a:solidFill>
                  <a:srgbClr val="7030A0"/>
                </a:solidFill>
              </a:rPr>
              <a:t>Funding</a:t>
            </a:r>
          </a:p>
          <a:p>
            <a:pPr lvl="1"/>
            <a:r>
              <a:rPr lang="en-AU" sz="1600" dirty="0"/>
              <a:t>National Health and Medical Research Council </a:t>
            </a:r>
            <a:r>
              <a:rPr lang="en-AU" sz="1600" dirty="0" smtClean="0"/>
              <a:t>Program (NHMRC)</a:t>
            </a:r>
          </a:p>
          <a:p>
            <a:pPr lvl="1"/>
            <a:endParaRPr lang="en-AU" sz="1600" dirty="0"/>
          </a:p>
          <a:p>
            <a:pPr marL="0" indent="0">
              <a:buNone/>
            </a:pPr>
            <a:r>
              <a:rPr lang="en-AU" sz="1600" dirty="0" smtClean="0"/>
              <a:t> </a:t>
            </a:r>
            <a:r>
              <a:rPr lang="en-AU" sz="2000" dirty="0" smtClean="0">
                <a:solidFill>
                  <a:srgbClr val="7030A0"/>
                </a:solidFill>
              </a:rPr>
              <a:t>Disclosure </a:t>
            </a:r>
            <a:endParaRPr lang="en-AU" sz="2000" dirty="0">
              <a:solidFill>
                <a:srgbClr val="7030A0"/>
              </a:solidFill>
            </a:endParaRPr>
          </a:p>
          <a:p>
            <a:pPr lvl="1"/>
            <a:r>
              <a:rPr lang="en-AU" sz="1600" dirty="0" smtClean="0"/>
              <a:t>EC </a:t>
            </a:r>
            <a:r>
              <a:rPr lang="en-AU" sz="1600" dirty="0"/>
              <a:t>has received educational </a:t>
            </a:r>
            <a:r>
              <a:rPr lang="en-AU" sz="1600" dirty="0" smtClean="0"/>
              <a:t>grants from </a:t>
            </a:r>
            <a:r>
              <a:rPr lang="en-AU" sz="1600" dirty="0" err="1"/>
              <a:t>Seqirus</a:t>
            </a:r>
            <a:r>
              <a:rPr lang="en-AU" sz="1600" dirty="0"/>
              <a:t> and </a:t>
            </a:r>
            <a:r>
              <a:rPr lang="en-AU" sz="1600" dirty="0" err="1"/>
              <a:t>bioCSL</a:t>
            </a:r>
            <a:r>
              <a:rPr lang="en-AU" sz="1600" dirty="0"/>
              <a:t> to </a:t>
            </a:r>
            <a:r>
              <a:rPr lang="en-AU" sz="1600" dirty="0" smtClean="0"/>
              <a:t>assist with </a:t>
            </a:r>
            <a:r>
              <a:rPr lang="en-AU" sz="1600" dirty="0"/>
              <a:t>education, training, and </a:t>
            </a:r>
            <a:r>
              <a:rPr lang="en-AU" sz="1600" dirty="0" smtClean="0"/>
              <a:t>academic </a:t>
            </a:r>
            <a:r>
              <a:rPr lang="en-AU" sz="1600" dirty="0"/>
              <a:t>purposes in </a:t>
            </a:r>
            <a:r>
              <a:rPr lang="en-AU" sz="1600" dirty="0" smtClean="0"/>
              <a:t>human papillomavirus</a:t>
            </a:r>
            <a:r>
              <a:rPr lang="en-AU" sz="1600" dirty="0"/>
              <a:t>.</a:t>
            </a:r>
            <a:endParaRPr lang="en-AU" sz="1600" dirty="0" smtClean="0"/>
          </a:p>
        </p:txBody>
      </p:sp>
      <p:pic>
        <p:nvPicPr>
          <p:cNvPr id="1026" name="Picture 2" descr="http://www.thewomenshistory.org.au/history/guides/general/gifs/womensLogo-full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8618" y="3338158"/>
            <a:ext cx="1066473" cy="104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G:\Multimedia\Design\MSHC Photos\MSHC_SlideShow\00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2300" y="1910126"/>
            <a:ext cx="1172791" cy="928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9945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HPV vaccination programme in Australia</a:t>
            </a:r>
            <a:endParaRPr lang="en-AU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421543" y="2682506"/>
            <a:ext cx="7581900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1437959" y="2558681"/>
            <a:ext cx="0" cy="24765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964968" y="2568206"/>
            <a:ext cx="0" cy="24765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870427" y="2787281"/>
            <a:ext cx="1351341" cy="349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Font typeface="Arial" panose="020B0604020202020204" pitchFamily="34" charset="0"/>
              <a:buNone/>
              <a:defRPr/>
            </a:pPr>
            <a:r>
              <a:rPr lang="en-AU" altLang="en-US" dirty="0" smtClean="0">
                <a:solidFill>
                  <a:srgbClr val="FF3399"/>
                </a:solidFill>
              </a:rPr>
              <a:t>April 2007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fr-FR" altLang="en-US" sz="1200" dirty="0" smtClean="0">
              <a:solidFill>
                <a:prstClr val="black"/>
              </a:solidFill>
            </a:endParaRPr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4335973" y="2815856"/>
            <a:ext cx="1351341" cy="349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Font typeface="Arial" panose="020B0604020202020204" pitchFamily="34" charset="0"/>
              <a:buNone/>
              <a:defRPr/>
            </a:pPr>
            <a:r>
              <a:rPr lang="en-AU" altLang="en-US" dirty="0" smtClean="0">
                <a:solidFill>
                  <a:srgbClr val="0070C0"/>
                </a:solidFill>
              </a:rPr>
              <a:t>Feb 2013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fr-FR" altLang="en-US" sz="1200" dirty="0" smtClean="0">
              <a:solidFill>
                <a:prstClr val="black"/>
              </a:solidFill>
            </a:endParaRPr>
          </a:p>
        </p:txBody>
      </p:sp>
      <p:pic>
        <p:nvPicPr>
          <p:cNvPr id="14" name="Picture 13" descr="Symbol Male And Female Clip Art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835"/>
          <a:stretch/>
        </p:blipFill>
        <p:spPr bwMode="auto">
          <a:xfrm>
            <a:off x="750780" y="1840562"/>
            <a:ext cx="326608" cy="627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Symbol Male And Female Clip Art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58"/>
          <a:stretch/>
        </p:blipFill>
        <p:spPr bwMode="auto">
          <a:xfrm>
            <a:off x="4485354" y="1840561"/>
            <a:ext cx="277046" cy="6278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1077388" y="1607096"/>
            <a:ext cx="3142646" cy="873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Font typeface="Arial" panose="020B0604020202020204" pitchFamily="34" charset="0"/>
              <a:buNone/>
              <a:defRPr/>
            </a:pPr>
            <a:r>
              <a:rPr lang="en-AU" altLang="en-US" sz="2000" dirty="0" smtClean="0">
                <a:solidFill>
                  <a:srgbClr val="FF3399"/>
                </a:solidFill>
              </a:rPr>
              <a:t>Aged 12-13</a:t>
            </a:r>
          </a:p>
          <a:p>
            <a:pPr marL="0" lvl="1" indent="0">
              <a:buFont typeface="Arial" panose="020B0604020202020204" pitchFamily="34" charset="0"/>
              <a:buNone/>
              <a:defRPr/>
            </a:pPr>
            <a:r>
              <a:rPr lang="en-AU" altLang="en-US" sz="2000" dirty="0">
                <a:solidFill>
                  <a:srgbClr val="FF3399"/>
                </a:solidFill>
              </a:rPr>
              <a:t>Catch-up programme </a:t>
            </a:r>
            <a:r>
              <a:rPr lang="en-AU" altLang="en-US" sz="2000" dirty="0" smtClean="0">
                <a:solidFill>
                  <a:srgbClr val="FF3399"/>
                </a:solidFill>
              </a:rPr>
              <a:t>aged 13-26 </a:t>
            </a:r>
            <a:r>
              <a:rPr lang="en-AU" altLang="en-US" sz="2000" dirty="0">
                <a:solidFill>
                  <a:srgbClr val="FF3399"/>
                </a:solidFill>
              </a:rPr>
              <a:t>from 2007 to 2009</a:t>
            </a:r>
          </a:p>
          <a:p>
            <a:pPr marL="457200" lvl="1" indent="0">
              <a:buFont typeface="Arial" panose="020B0604020202020204" pitchFamily="34" charset="0"/>
              <a:buNone/>
            </a:pPr>
            <a:endParaRPr lang="fr-FR" altLang="en-US" sz="2000" dirty="0">
              <a:solidFill>
                <a:srgbClr val="FF3399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4868768" y="1607096"/>
            <a:ext cx="3142646" cy="873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Font typeface="Arial" panose="020B0604020202020204" pitchFamily="34" charset="0"/>
              <a:buNone/>
              <a:defRPr/>
            </a:pPr>
            <a:r>
              <a:rPr lang="en-AU" altLang="en-US" sz="2000" dirty="0" smtClean="0">
                <a:solidFill>
                  <a:srgbClr val="0070C0"/>
                </a:solidFill>
              </a:rPr>
              <a:t>Aged 12-13</a:t>
            </a:r>
          </a:p>
          <a:p>
            <a:pPr marL="0" lvl="1" indent="0">
              <a:buFont typeface="Arial" panose="020B0604020202020204" pitchFamily="34" charset="0"/>
              <a:buNone/>
              <a:defRPr/>
            </a:pPr>
            <a:r>
              <a:rPr lang="en-AU" altLang="en-US" sz="2000" dirty="0">
                <a:solidFill>
                  <a:srgbClr val="0070C0"/>
                </a:solidFill>
              </a:rPr>
              <a:t>Catch-up programme aged </a:t>
            </a:r>
            <a:r>
              <a:rPr lang="en-AU" altLang="en-US" sz="2000" dirty="0" smtClean="0">
                <a:solidFill>
                  <a:srgbClr val="0070C0"/>
                </a:solidFill>
              </a:rPr>
              <a:t>14-15 until Dec </a:t>
            </a:r>
            <a:r>
              <a:rPr lang="en-AU" altLang="en-US" sz="2000" dirty="0">
                <a:solidFill>
                  <a:srgbClr val="0070C0"/>
                </a:solidFill>
              </a:rPr>
              <a:t>2014</a:t>
            </a:r>
            <a:endParaRPr lang="fr-FR" altLang="en-US" sz="20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507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HPV vaccines</a:t>
            </a:r>
            <a:endParaRPr lang="en-AU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9514461"/>
              </p:ext>
            </p:extLst>
          </p:nvPr>
        </p:nvGraphicFramePr>
        <p:xfrm>
          <a:off x="385011" y="1397000"/>
          <a:ext cx="8635164" cy="179387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777164"/>
                <a:gridCol w="1533525"/>
                <a:gridCol w="5324475"/>
              </a:tblGrid>
              <a:tr h="597958">
                <a:tc>
                  <a:txBody>
                    <a:bodyPr/>
                    <a:lstStyle/>
                    <a:p>
                      <a:r>
                        <a:rPr lang="en-AU" sz="2000" b="1" i="1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valent</a:t>
                      </a:r>
                      <a:endParaRPr lang="en-AU" sz="2000" b="1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2000" b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rvarix</a:t>
                      </a:r>
                      <a:r>
                        <a:rPr lang="en-AU" sz="2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®</a:t>
                      </a:r>
                      <a:endParaRPr lang="en-AU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2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97958">
                <a:tc>
                  <a:txBody>
                    <a:bodyPr/>
                    <a:lstStyle/>
                    <a:p>
                      <a:r>
                        <a:rPr lang="en-AU" sz="2000" b="1" i="1" u="none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drivalent</a:t>
                      </a:r>
                      <a:r>
                        <a:rPr lang="en-AU" sz="2000" b="1" i="1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AU" sz="2000" b="1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AU" sz="2000" b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ardasil</a:t>
                      </a:r>
                      <a:r>
                        <a:rPr lang="en-AU" sz="2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®</a:t>
                      </a:r>
                      <a:endParaRPr lang="en-AU" sz="20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2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97958">
                <a:tc>
                  <a:txBody>
                    <a:bodyPr/>
                    <a:lstStyle/>
                    <a:p>
                      <a:r>
                        <a:rPr lang="en-AU" sz="2000" b="1" i="1" u="none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-valent</a:t>
                      </a:r>
                      <a:endParaRPr lang="en-AU" sz="2000" b="1" i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000" b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ardasil</a:t>
                      </a:r>
                      <a:r>
                        <a:rPr lang="en-AU" sz="2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® 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AU" sz="2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717922" y="1469248"/>
            <a:ext cx="527052" cy="47607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6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717922" y="2050094"/>
            <a:ext cx="527052" cy="47607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6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298947" y="1469248"/>
            <a:ext cx="527052" cy="47607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8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98947" y="2050094"/>
            <a:ext cx="527052" cy="47607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8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79972" y="2050094"/>
            <a:ext cx="527052" cy="47607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6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480047" y="2050094"/>
            <a:ext cx="527052" cy="47607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1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17922" y="2649990"/>
            <a:ext cx="527052" cy="47607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6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298947" y="2649990"/>
            <a:ext cx="527052" cy="476071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8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879972" y="2649990"/>
            <a:ext cx="527052" cy="47607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6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80047" y="2649990"/>
            <a:ext cx="527052" cy="476071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1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061072" y="2649990"/>
            <a:ext cx="527052" cy="476071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31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642097" y="2649990"/>
            <a:ext cx="527052" cy="476071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33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23122" y="2649990"/>
            <a:ext cx="527052" cy="476071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45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823197" y="2649990"/>
            <a:ext cx="527052" cy="476071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52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413748" y="2649990"/>
            <a:ext cx="527052" cy="476071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 defTabSz="457200"/>
            <a:r>
              <a:rPr lang="en-A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58</a:t>
            </a:r>
            <a:endParaRPr lang="en-AU" sz="16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23850" y="1945319"/>
            <a:ext cx="8724900" cy="704671"/>
          </a:xfrm>
          <a:prstGeom prst="rect">
            <a:avLst/>
          </a:prstGeom>
          <a:noFill/>
          <a:ln w="38100">
            <a:solidFill>
              <a:srgbClr val="FF339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white"/>
              </a:solidFill>
            </a:endParaRPr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385011" y="3215686"/>
            <a:ext cx="8130339" cy="1461536"/>
          </a:xfrm>
        </p:spPr>
        <p:txBody>
          <a:bodyPr/>
          <a:lstStyle/>
          <a:p>
            <a:r>
              <a:rPr lang="en-AU" dirty="0" smtClean="0"/>
              <a:t>Numerous studies have shown a large reduction on genital warts and vaccine-related HPVs in females</a:t>
            </a:r>
            <a:r>
              <a:rPr lang="en-AU" baseline="30000" dirty="0" smtClean="0"/>
              <a:t>1-4</a:t>
            </a:r>
            <a:r>
              <a:rPr lang="en-AU" dirty="0" smtClean="0"/>
              <a:t> </a:t>
            </a:r>
          </a:p>
          <a:p>
            <a:r>
              <a:rPr lang="en-US" dirty="0" smtClean="0"/>
              <a:t>No studies examined HPV in men before and after the female </a:t>
            </a:r>
            <a:r>
              <a:rPr lang="en-US" dirty="0" err="1" smtClean="0"/>
              <a:t>programme</a:t>
            </a:r>
            <a:endParaRPr lang="en-US" dirty="0" smtClean="0"/>
          </a:p>
          <a:p>
            <a:endParaRPr lang="en-AU" dirty="0"/>
          </a:p>
        </p:txBody>
      </p:sp>
      <p:sp>
        <p:nvSpPr>
          <p:cNvPr id="27" name="TextBox 26"/>
          <p:cNvSpPr txBox="1"/>
          <p:nvPr/>
        </p:nvSpPr>
        <p:spPr>
          <a:xfrm>
            <a:off x="4464682" y="4276943"/>
            <a:ext cx="45932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AU" sz="1200" i="1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en-AU" sz="12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w EP et al. Lancet </a:t>
            </a:r>
            <a:r>
              <a:rPr lang="en-AU" sz="1200" i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</a:t>
            </a:r>
            <a:r>
              <a:rPr lang="en-AU" sz="12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. 2015; 15: 1314-1323</a:t>
            </a:r>
          </a:p>
          <a:p>
            <a:pPr algn="r" defTabSz="457200"/>
            <a:r>
              <a:rPr lang="en-AU" sz="1200" i="1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en-AU" sz="12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w EP et al. </a:t>
            </a:r>
            <a:r>
              <a:rPr lang="en-AU" sz="12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x Trans Inf. 2015; 91: 214-219</a:t>
            </a:r>
          </a:p>
          <a:p>
            <a:pPr algn="r" defTabSz="457200"/>
            <a:r>
              <a:rPr lang="en-AU" sz="1200" i="1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AU" sz="12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 H et al. BMJ. 2013: 346: f2032.</a:t>
            </a:r>
          </a:p>
          <a:p>
            <a:pPr algn="r" defTabSz="457200"/>
            <a:r>
              <a:rPr lang="en-AU" sz="1200" i="1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AU" sz="12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rizi SN et al. Lancet </a:t>
            </a:r>
            <a:r>
              <a:rPr lang="en-AU" sz="1200" i="1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</a:t>
            </a:r>
            <a:r>
              <a:rPr lang="en-AU" sz="12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s. 2014; 14: 958-66</a:t>
            </a:r>
            <a:endParaRPr lang="en-AU" sz="12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429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6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im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454189" cy="3207786"/>
          </a:xfrm>
        </p:spPr>
        <p:txBody>
          <a:bodyPr/>
          <a:lstStyle/>
          <a:p>
            <a:pPr marL="0" indent="0">
              <a:buNone/>
            </a:pPr>
            <a:r>
              <a:rPr lang="en-AU" dirty="0" smtClean="0"/>
              <a:t>To examine the annual trends of HPV genotypes prevalence among sexually active young men over an 11-year period, from 2004 to 2015.</a:t>
            </a:r>
          </a:p>
          <a:p>
            <a:r>
              <a:rPr lang="en-AU" dirty="0" smtClean="0"/>
              <a:t>3 years before and 8 years after the female HPV programme </a:t>
            </a:r>
          </a:p>
        </p:txBody>
      </p:sp>
    </p:spTree>
    <p:extLst>
      <p:ext uri="{BB962C8B-B14F-4D97-AF65-F5344CB8AC3E}">
        <p14:creationId xmlns:p14="http://schemas.microsoft.com/office/powerpoint/2010/main" val="626841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Method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454189" cy="3207786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en-AU" altLang="en-US" dirty="0"/>
              <a:t>Melbourne Sexual Health Centre (MSHC), Victoria, Australia</a:t>
            </a:r>
          </a:p>
          <a:p>
            <a:pPr>
              <a:spcAft>
                <a:spcPct val="0"/>
              </a:spcAft>
            </a:pPr>
            <a:r>
              <a:rPr lang="en-AU" altLang="en-US" smtClean="0"/>
              <a:t>Retrospective observational </a:t>
            </a:r>
            <a:r>
              <a:rPr lang="en-AU" altLang="en-US" dirty="0" smtClean="0"/>
              <a:t>study: 2004 – 2015 </a:t>
            </a:r>
          </a:p>
          <a:p>
            <a:pPr>
              <a:spcAft>
                <a:spcPct val="0"/>
              </a:spcAft>
            </a:pPr>
            <a:r>
              <a:rPr lang="en-AU" altLang="en-US" dirty="0" smtClean="0"/>
              <a:t>Stored chlamydia positive samples </a:t>
            </a:r>
          </a:p>
          <a:p>
            <a:pPr>
              <a:spcAft>
                <a:spcPct val="0"/>
              </a:spcAft>
            </a:pPr>
            <a:r>
              <a:rPr lang="en-AU" altLang="en-US" dirty="0" smtClean="0"/>
              <a:t>Heterosexual men aged </a:t>
            </a:r>
            <a:r>
              <a:rPr lang="en-AU" altLang="en-US" dirty="0"/>
              <a:t>≤25 </a:t>
            </a:r>
            <a:r>
              <a:rPr lang="en-AU" altLang="en-US" dirty="0" smtClean="0"/>
              <a:t>who had a positive results for urethral chlamydia (urine and urethral swab)</a:t>
            </a:r>
            <a:endParaRPr lang="en-AU" altLang="en-US" dirty="0"/>
          </a:p>
          <a:p>
            <a:pPr>
              <a:spcAft>
                <a:spcPct val="0"/>
              </a:spcAft>
            </a:pPr>
            <a:r>
              <a:rPr lang="en-AU" altLang="en-US" dirty="0" smtClean="0"/>
              <a:t>Demographic characteristics (age, country of birth), sexual behavioural data (number of partners, condom use) </a:t>
            </a:r>
            <a:endParaRPr lang="en-AU" altLang="en-US" dirty="0"/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503629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Analyse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454189" cy="3207786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en-AU" altLang="en-US" dirty="0" smtClean="0"/>
              <a:t>HPV DNA extracted from stored samples </a:t>
            </a:r>
          </a:p>
          <a:p>
            <a:pPr>
              <a:spcAft>
                <a:spcPct val="0"/>
              </a:spcAft>
            </a:pPr>
            <a:r>
              <a:rPr lang="en-AU" altLang="en-US" dirty="0" err="1"/>
              <a:t>PapType</a:t>
            </a:r>
            <a:r>
              <a:rPr lang="en-AU" altLang="en-US" dirty="0"/>
              <a:t> HPV assay was performed to detect </a:t>
            </a:r>
            <a:r>
              <a:rPr lang="en-AU" altLang="en-US" dirty="0">
                <a:solidFill>
                  <a:srgbClr val="FF0000"/>
                </a:solidFill>
              </a:rPr>
              <a:t>14 high-risk </a:t>
            </a:r>
            <a:r>
              <a:rPr lang="en-AU" altLang="en-US" dirty="0"/>
              <a:t>HPV</a:t>
            </a:r>
            <a:r>
              <a:rPr lang="en-AU" altLang="en-US" dirty="0">
                <a:solidFill>
                  <a:srgbClr val="FF0000"/>
                </a:solidFill>
              </a:rPr>
              <a:t> </a:t>
            </a:r>
            <a:r>
              <a:rPr lang="en-AU" altLang="en-US" dirty="0"/>
              <a:t>genotypes (16, 18, 31, 33, 35, 39, 45, 51, 52, 56, 58, 59, 66, and 68) and </a:t>
            </a:r>
            <a:r>
              <a:rPr lang="en-AU" altLang="en-US" dirty="0">
                <a:solidFill>
                  <a:srgbClr val="00B050"/>
                </a:solidFill>
              </a:rPr>
              <a:t>two low-risk </a:t>
            </a:r>
            <a:r>
              <a:rPr lang="en-AU" altLang="en-US" dirty="0"/>
              <a:t>genotypes (6 </a:t>
            </a:r>
            <a:r>
              <a:rPr lang="en-AU" altLang="en-US" dirty="0" smtClean="0"/>
              <a:t>and 11</a:t>
            </a:r>
            <a:r>
              <a:rPr lang="en-AU" altLang="en-US" dirty="0"/>
              <a:t>). </a:t>
            </a:r>
            <a:endParaRPr lang="en-AU" altLang="en-US" dirty="0" smtClean="0"/>
          </a:p>
          <a:p>
            <a:pPr>
              <a:spcAft>
                <a:spcPct val="0"/>
              </a:spcAft>
            </a:pPr>
            <a:r>
              <a:rPr lang="en-AU" altLang="en-US" dirty="0" smtClean="0"/>
              <a:t>Stratified by Australian financial years (July to June)</a:t>
            </a:r>
            <a:endParaRPr lang="en-AU" altLang="en-US" dirty="0"/>
          </a:p>
          <a:p>
            <a:pPr>
              <a:spcAft>
                <a:spcPct val="0"/>
              </a:spcAft>
            </a:pPr>
            <a:r>
              <a:rPr lang="en-AU" altLang="en-US" dirty="0" smtClean="0"/>
              <a:t>Australian-born vs overseas-born</a:t>
            </a:r>
          </a:p>
          <a:p>
            <a:pPr lvl="1">
              <a:spcAft>
                <a:spcPct val="0"/>
              </a:spcAft>
            </a:pPr>
            <a:r>
              <a:rPr lang="en-AU" dirty="0" smtClean="0"/>
              <a:t>Herd protection in Australian-born </a:t>
            </a:r>
            <a:r>
              <a:rPr lang="en-AU" dirty="0"/>
              <a:t>men </a:t>
            </a:r>
            <a:r>
              <a:rPr lang="en-AU" dirty="0" smtClean="0"/>
              <a:t>due to sexual mixing</a:t>
            </a:r>
            <a:r>
              <a:rPr lang="en-AU" baseline="30000" dirty="0" smtClean="0"/>
              <a:t>1</a:t>
            </a:r>
            <a:endParaRPr lang="en-AU" altLang="en-US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4464682" y="4764623"/>
            <a:ext cx="45932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457200"/>
            <a:r>
              <a:rPr lang="en-AU" sz="1200" i="1" baseline="30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en-AU" sz="1200" i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w EP et al. Sex Health. 2016. Accepted.</a:t>
            </a:r>
            <a:endParaRPr lang="en-AU" sz="12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5248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HPV prevalence analyses  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dirty="0"/>
              <a:t>Any HPV </a:t>
            </a:r>
            <a:r>
              <a:rPr lang="en-AU" dirty="0" smtClean="0"/>
              <a:t>genotypes (6, 11, </a:t>
            </a:r>
            <a:r>
              <a:rPr lang="en-AU" altLang="en-US" dirty="0" smtClean="0"/>
              <a:t>16</a:t>
            </a:r>
            <a:r>
              <a:rPr lang="en-AU" altLang="en-US" dirty="0"/>
              <a:t>, 18, 31, 33, 35, 39, 45, 51, 52, 56, 58, 59, 66, and 68</a:t>
            </a:r>
            <a:r>
              <a:rPr lang="en-AU" altLang="en-US" dirty="0" smtClean="0"/>
              <a:t>)</a:t>
            </a:r>
            <a:endParaRPr lang="en-AU" dirty="0"/>
          </a:p>
          <a:p>
            <a:r>
              <a:rPr lang="en-AU" dirty="0"/>
              <a:t>4 vaccine-targeted HPV genotypes (6, 11, 16, 18</a:t>
            </a:r>
            <a:r>
              <a:rPr lang="en-AU" dirty="0" smtClean="0"/>
              <a:t>)</a:t>
            </a:r>
          </a:p>
          <a:p>
            <a:pPr marL="803275" lvl="1" indent="-346075">
              <a:buFont typeface="Wingdings" panose="05000000000000000000" pitchFamily="2" charset="2"/>
              <a:buChar char="Ø"/>
            </a:pPr>
            <a:r>
              <a:rPr lang="en-AU" dirty="0" smtClean="0"/>
              <a:t>6, 11</a:t>
            </a:r>
          </a:p>
          <a:p>
            <a:pPr marL="803275" lvl="1" indent="-346075">
              <a:buFont typeface="Wingdings" panose="05000000000000000000" pitchFamily="2" charset="2"/>
              <a:buChar char="Ø"/>
            </a:pPr>
            <a:r>
              <a:rPr lang="en-AU" dirty="0" smtClean="0"/>
              <a:t>16, 18</a:t>
            </a:r>
            <a:endParaRPr lang="en-AU" dirty="0"/>
          </a:p>
          <a:p>
            <a:r>
              <a:rPr lang="en-AU" dirty="0"/>
              <a:t>Non-vaccine-targeted high-risk HPV genotypes (31, 33, 35, 39, 45, 51, 52, 56, 58, 59, 66, or 68) </a:t>
            </a:r>
          </a:p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21804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 smtClean="0"/>
              <a:t>Results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454189" cy="3207786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en-AU" altLang="en-US" dirty="0" smtClean="0"/>
              <a:t>1466 men were included </a:t>
            </a:r>
          </a:p>
          <a:p>
            <a:pPr lvl="1">
              <a:spcAft>
                <a:spcPct val="0"/>
              </a:spcAft>
            </a:pPr>
            <a:r>
              <a:rPr lang="en-AU" altLang="en-US" dirty="0" smtClean="0"/>
              <a:t>1428 (97%) urine specimens </a:t>
            </a:r>
          </a:p>
          <a:p>
            <a:pPr lvl="1">
              <a:spcAft>
                <a:spcPct val="0"/>
              </a:spcAft>
            </a:pPr>
            <a:r>
              <a:rPr lang="en-AU" altLang="en-US" dirty="0" smtClean="0"/>
              <a:t>38 (3%) urethral swab specimens</a:t>
            </a:r>
            <a:endParaRPr lang="en-AU" altLang="en-US" dirty="0"/>
          </a:p>
          <a:p>
            <a:pPr>
              <a:spcAft>
                <a:spcPct val="0"/>
              </a:spcAft>
            </a:pPr>
            <a:r>
              <a:rPr lang="en-AU" altLang="en-US" dirty="0" smtClean="0"/>
              <a:t>633 (43%) Australian-born men </a:t>
            </a:r>
          </a:p>
          <a:p>
            <a:pPr>
              <a:spcAft>
                <a:spcPct val="0"/>
              </a:spcAft>
            </a:pPr>
            <a:r>
              <a:rPr lang="en-AU" altLang="en-US" dirty="0" smtClean="0"/>
              <a:t>768 (52%) Overseas-born men </a:t>
            </a:r>
          </a:p>
          <a:p>
            <a:pPr>
              <a:spcAft>
                <a:spcPct val="0"/>
              </a:spcAft>
            </a:pPr>
            <a:r>
              <a:rPr lang="en-AU" altLang="en-US" dirty="0" smtClean="0"/>
              <a:t>65 (4%) had an unknown place of birth </a:t>
            </a:r>
          </a:p>
        </p:txBody>
      </p:sp>
      <p:sp>
        <p:nvSpPr>
          <p:cNvPr id="4" name="Right Brace 3"/>
          <p:cNvSpPr/>
          <p:nvPr/>
        </p:nvSpPr>
        <p:spPr>
          <a:xfrm>
            <a:off x="5354320" y="1790699"/>
            <a:ext cx="76200" cy="637541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5566611" y="1790699"/>
            <a:ext cx="3272589" cy="637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AU" sz="2000" dirty="0" smtClean="0">
                <a:solidFill>
                  <a:prstClr val="black"/>
                </a:solidFill>
              </a:rPr>
              <a:t>No significant differences in HPV detection (P=0.109)</a:t>
            </a:r>
            <a:endParaRPr lang="en-AU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5339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itle slide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8064A2"/>
      </a:accent4>
      <a:accent5>
        <a:srgbClr val="B1DFD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Body 1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B1DFDF"/>
      </a:accent4>
      <a:accent5>
        <a:srgbClr val="080808"/>
      </a:accent5>
      <a:accent6>
        <a:srgbClr val="0000F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871</Words>
  <Application>Microsoft Office PowerPoint</Application>
  <PresentationFormat>On-screen Show (16:9)</PresentationFormat>
  <Paragraphs>158</Paragraphs>
  <Slides>17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Custom Design</vt:lpstr>
      <vt:lpstr>6_Custom Design</vt:lpstr>
      <vt:lpstr>NHS_CF_LN9471</vt:lpstr>
      <vt:lpstr>Title slide</vt:lpstr>
      <vt:lpstr>Body 1</vt:lpstr>
      <vt:lpstr>think-cell Slide</vt:lpstr>
      <vt:lpstr>PowerPoint Presentation</vt:lpstr>
      <vt:lpstr>Acknowledgment </vt:lpstr>
      <vt:lpstr>HPV vaccination programme in Australia</vt:lpstr>
      <vt:lpstr>HPV vaccines</vt:lpstr>
      <vt:lpstr>Aim</vt:lpstr>
      <vt:lpstr>Methods</vt:lpstr>
      <vt:lpstr>Analyses</vt:lpstr>
      <vt:lpstr>HPV prevalence analyses  </vt:lpstr>
      <vt:lpstr>Results</vt:lpstr>
      <vt:lpstr>Australian-born men</vt:lpstr>
      <vt:lpstr>Overseas-born men</vt:lpstr>
      <vt:lpstr>PowerPoint Presentation</vt:lpstr>
      <vt:lpstr>PowerPoint Presentation</vt:lpstr>
      <vt:lpstr>Overseas-born men</vt:lpstr>
      <vt:lpstr>Take home messages </vt:lpstr>
      <vt:lpstr>PowerPoint Presentation</vt:lpstr>
      <vt:lpstr>PowerPoint Presentation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7</cp:revision>
  <dcterms:created xsi:type="dcterms:W3CDTF">2015-05-13T13:06:46Z</dcterms:created>
  <dcterms:modified xsi:type="dcterms:W3CDTF">2016-07-11T15:46:01Z</dcterms:modified>
</cp:coreProperties>
</file>